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5"/>
  </p:notesMasterIdLst>
  <p:sldIdLst>
    <p:sldId id="256" r:id="rId2"/>
    <p:sldId id="257" r:id="rId3"/>
    <p:sldId id="258" r:id="rId4"/>
    <p:sldId id="271" r:id="rId5"/>
    <p:sldId id="259" r:id="rId6"/>
    <p:sldId id="264" r:id="rId7"/>
    <p:sldId id="262" r:id="rId8"/>
    <p:sldId id="263" r:id="rId9"/>
    <p:sldId id="265" r:id="rId10"/>
    <p:sldId id="267" r:id="rId11"/>
    <p:sldId id="268" r:id="rId12"/>
    <p:sldId id="269" r:id="rId13"/>
    <p:sldId id="270" r:id="rId1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80" d="100"/>
          <a:sy n="80" d="100"/>
        </p:scale>
        <p:origin x="-1050" y="-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hyperlink" Target="http://www.forcemac.com/home-page/" TargetMode="External"/><Relationship Id="rId1" Type="http://schemas.openxmlformats.org/officeDocument/2006/relationships/image" Target="../media/image30.png"/><Relationship Id="rId4" Type="http://schemas.openxmlformats.org/officeDocument/2006/relationships/hyperlink" Target="http://www.forcemac.com/autotruck/" TargetMode="External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image" Target="../media/image3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8B54F1B-5A3B-4631-AD17-87B49FED78A4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F49DAA38-89F6-425A-B074-A1BF4A8923ED}">
      <dgm:prSet phldrT="[文本]"/>
      <dgm:spPr/>
      <dgm:t>
        <a:bodyPr/>
        <a:lstStyle/>
        <a:p>
          <a:r>
            <a:rPr lang="tr-TR" dirty="0" err="1" smtClean="0">
              <a:latin typeface="Century Gothic" panose="020B0502020202020204" pitchFamily="34" charset="0"/>
            </a:rPr>
            <a:t>About</a:t>
          </a:r>
          <a:r>
            <a:rPr lang="tr-TR" dirty="0" smtClean="0">
              <a:latin typeface="Century Gothic" panose="020B0502020202020204" pitchFamily="34" charset="0"/>
            </a:rPr>
            <a:t> Us</a:t>
          </a:r>
          <a:endParaRPr lang="en-US" dirty="0">
            <a:latin typeface="Century Gothic" panose="020B0502020202020204" pitchFamily="34" charset="0"/>
          </a:endParaRPr>
        </a:p>
      </dgm:t>
      <dgm:extLst/>
    </dgm:pt>
    <dgm:pt modelId="{82E047AF-4692-499D-9DFA-B2BCE830BC7C}" type="parTrans" cxnId="{DE148B01-94D8-4ED8-B7B4-B672A48884A4}">
      <dgm:prSet/>
      <dgm:spPr/>
      <dgm:t>
        <a:bodyPr/>
        <a:lstStyle/>
        <a:p>
          <a:endParaRPr lang="en-US"/>
        </a:p>
      </dgm:t>
    </dgm:pt>
    <dgm:pt modelId="{4C5AF554-A944-4B11-9A0D-10236FB0D5E1}" type="sibTrans" cxnId="{DE148B01-94D8-4ED8-B7B4-B672A48884A4}">
      <dgm:prSet/>
      <dgm:spPr/>
      <dgm:t>
        <a:bodyPr/>
        <a:lstStyle/>
        <a:p>
          <a:endParaRPr lang="en-US"/>
        </a:p>
      </dgm:t>
    </dgm:pt>
    <dgm:pt modelId="{12BD2D3C-2CEA-4B97-8674-9688217C250D}">
      <dgm:prSet phldrT="[文本]"/>
      <dgm:spPr/>
      <dgm:t>
        <a:bodyPr/>
        <a:lstStyle/>
        <a:p>
          <a:r>
            <a:rPr lang="en-US" dirty="0" smtClean="0">
              <a:latin typeface="Century Gothic" panose="020B0502020202020204" pitchFamily="34" charset="0"/>
            </a:rPr>
            <a:t>Customer &amp; Product Overview</a:t>
          </a:r>
          <a:endParaRPr lang="tr-TR" dirty="0" smtClean="0">
            <a:latin typeface="Century Gothic" panose="020B0502020202020204" pitchFamily="34" charset="0"/>
          </a:endParaRPr>
        </a:p>
      </dgm:t>
      <dgm:extLst/>
    </dgm:pt>
    <dgm:pt modelId="{3EF97DD4-FFA1-4171-9426-F02679CA5AE2}" type="parTrans" cxnId="{8ACAD4CC-580D-42E1-8F49-5E39537CD69D}">
      <dgm:prSet/>
      <dgm:spPr/>
      <dgm:t>
        <a:bodyPr/>
        <a:lstStyle/>
        <a:p>
          <a:endParaRPr lang="en-US"/>
        </a:p>
      </dgm:t>
    </dgm:pt>
    <dgm:pt modelId="{0C29993B-FA53-415F-8C3C-9F8ED395DCB5}" type="sibTrans" cxnId="{8ACAD4CC-580D-42E1-8F49-5E39537CD69D}">
      <dgm:prSet/>
      <dgm:spPr/>
      <dgm:t>
        <a:bodyPr/>
        <a:lstStyle/>
        <a:p>
          <a:endParaRPr lang="en-US"/>
        </a:p>
      </dgm:t>
    </dgm:pt>
    <dgm:pt modelId="{0B4E95AD-D154-4DDB-8C0C-73EA935DC17B}">
      <dgm:prSet/>
      <dgm:spPr/>
      <dgm:t>
        <a:bodyPr/>
        <a:lstStyle/>
        <a:p>
          <a:r>
            <a:rPr lang="en-US" dirty="0" smtClean="0">
              <a:latin typeface="Century Gothic" panose="020B0502020202020204" pitchFamily="34" charset="0"/>
            </a:rPr>
            <a:t>Our </a:t>
          </a:r>
          <a:r>
            <a:rPr lang="tr-TR" dirty="0" smtClean="0">
              <a:latin typeface="Century Gothic" panose="020B0502020202020204" pitchFamily="34" charset="0"/>
            </a:rPr>
            <a:t>Services</a:t>
          </a:r>
          <a:endParaRPr lang="en-US" dirty="0">
            <a:latin typeface="Century Gothic" panose="020B0502020202020204" pitchFamily="34" charset="0"/>
          </a:endParaRPr>
        </a:p>
      </dgm:t>
      <dgm:extLst/>
    </dgm:pt>
    <dgm:pt modelId="{D9515176-7390-4898-97BB-0EC36975D615}" type="parTrans" cxnId="{14FE4527-3EBC-4533-9E7C-E2A7C4FE7F9B}">
      <dgm:prSet/>
      <dgm:spPr/>
      <dgm:t>
        <a:bodyPr/>
        <a:lstStyle/>
        <a:p>
          <a:endParaRPr lang="en-US"/>
        </a:p>
      </dgm:t>
    </dgm:pt>
    <dgm:pt modelId="{2193A246-05F1-41A8-9C1C-40ED7CB9B1AE}" type="sibTrans" cxnId="{14FE4527-3EBC-4533-9E7C-E2A7C4FE7F9B}">
      <dgm:prSet/>
      <dgm:spPr/>
      <dgm:t>
        <a:bodyPr/>
        <a:lstStyle/>
        <a:p>
          <a:endParaRPr lang="en-US"/>
        </a:p>
      </dgm:t>
    </dgm:pt>
    <dgm:pt modelId="{BD2F4191-E836-4451-80DB-1777BDF87B8B}">
      <dgm:prSet phldrT="[文本]"/>
      <dgm:spPr/>
      <dgm:t>
        <a:bodyPr/>
        <a:lstStyle/>
        <a:p>
          <a:r>
            <a:rPr lang="tr-TR" dirty="0" err="1" smtClean="0">
              <a:latin typeface="Century Gothic" panose="020B0502020202020204" pitchFamily="34" charset="0"/>
            </a:rPr>
            <a:t>Driven</a:t>
          </a:r>
          <a:r>
            <a:rPr lang="tr-TR" dirty="0" smtClean="0">
              <a:latin typeface="Century Gothic" panose="020B0502020202020204" pitchFamily="34" charset="0"/>
            </a:rPr>
            <a:t> </a:t>
          </a:r>
          <a:r>
            <a:rPr lang="tr-TR" dirty="0" err="1" smtClean="0">
              <a:latin typeface="Century Gothic" panose="020B0502020202020204" pitchFamily="34" charset="0"/>
            </a:rPr>
            <a:t>Progress</a:t>
          </a:r>
          <a:endParaRPr lang="tr-TR" dirty="0" smtClean="0">
            <a:latin typeface="Century Gothic" panose="020B0502020202020204" pitchFamily="34" charset="0"/>
          </a:endParaRPr>
        </a:p>
      </dgm:t>
      <dgm:extLst/>
    </dgm:pt>
    <dgm:pt modelId="{BBE51F61-FE17-4F77-B9A1-8066335B399F}" type="parTrans" cxnId="{FB953994-71FD-401A-8444-9B6C327CE2DB}">
      <dgm:prSet/>
      <dgm:spPr/>
      <dgm:t>
        <a:bodyPr/>
        <a:lstStyle/>
        <a:p>
          <a:endParaRPr lang="en-US"/>
        </a:p>
      </dgm:t>
    </dgm:pt>
    <dgm:pt modelId="{3F273BA5-DF92-42CD-8438-AD4A8B762601}" type="sibTrans" cxnId="{FB953994-71FD-401A-8444-9B6C327CE2DB}">
      <dgm:prSet/>
      <dgm:spPr/>
      <dgm:t>
        <a:bodyPr/>
        <a:lstStyle/>
        <a:p>
          <a:endParaRPr lang="en-US"/>
        </a:p>
      </dgm:t>
    </dgm:pt>
    <dgm:pt modelId="{9053BC07-0063-407A-8859-686470BF86A9}">
      <dgm:prSet phldrT="[文本]"/>
      <dgm:spPr/>
      <dgm:t>
        <a:bodyPr/>
        <a:lstStyle/>
        <a:p>
          <a:r>
            <a:rPr lang="en-US" dirty="0" smtClean="0">
              <a:latin typeface="Century Gothic" panose="020B0502020202020204" pitchFamily="34" charset="0"/>
            </a:rPr>
            <a:t>Our Advantages</a:t>
          </a:r>
          <a:endParaRPr lang="tr-TR" dirty="0" smtClean="0">
            <a:latin typeface="Century Gothic" panose="020B0502020202020204" pitchFamily="34" charset="0"/>
          </a:endParaRPr>
        </a:p>
      </dgm:t>
      <dgm:extLst/>
    </dgm:pt>
    <dgm:pt modelId="{902078E2-CA76-42FF-A7F4-6542E2790D06}" type="parTrans" cxnId="{2B7BA7A6-94AF-4525-A7D0-5E0A04945231}">
      <dgm:prSet/>
      <dgm:spPr/>
      <dgm:t>
        <a:bodyPr/>
        <a:lstStyle/>
        <a:p>
          <a:endParaRPr lang="en-US"/>
        </a:p>
      </dgm:t>
    </dgm:pt>
    <dgm:pt modelId="{85369447-1C8A-42FA-A92D-40ECCDA84704}" type="sibTrans" cxnId="{2B7BA7A6-94AF-4525-A7D0-5E0A04945231}">
      <dgm:prSet/>
      <dgm:spPr/>
      <dgm:t>
        <a:bodyPr/>
        <a:lstStyle/>
        <a:p>
          <a:endParaRPr lang="en-US"/>
        </a:p>
      </dgm:t>
    </dgm:pt>
    <dgm:pt modelId="{03F04E75-48A0-4148-9C78-29D3ED1D2EFA}">
      <dgm:prSet phldrT="[文本]"/>
      <dgm:spPr/>
      <dgm:t>
        <a:bodyPr/>
        <a:lstStyle/>
        <a:p>
          <a:r>
            <a:rPr lang="tr-TR" dirty="0" err="1" smtClean="0">
              <a:latin typeface="Century Gothic" panose="020B0502020202020204" pitchFamily="34" charset="0"/>
            </a:rPr>
            <a:t>Conclusion</a:t>
          </a:r>
          <a:endParaRPr lang="tr-TR" dirty="0" smtClean="0">
            <a:latin typeface="Century Gothic" panose="020B0502020202020204" pitchFamily="34" charset="0"/>
          </a:endParaRPr>
        </a:p>
      </dgm:t>
      <dgm:extLst/>
    </dgm:pt>
    <dgm:pt modelId="{4DEA20DE-762F-4DAF-AB41-88AC6F08E295}" type="parTrans" cxnId="{B5AB91FA-BA0E-45D5-AF03-A932E6C59886}">
      <dgm:prSet/>
      <dgm:spPr/>
      <dgm:t>
        <a:bodyPr/>
        <a:lstStyle/>
        <a:p>
          <a:endParaRPr lang="en-US"/>
        </a:p>
      </dgm:t>
    </dgm:pt>
    <dgm:pt modelId="{AF60F43E-D843-48DC-87AF-32E0DE84B0FF}" type="sibTrans" cxnId="{B5AB91FA-BA0E-45D5-AF03-A932E6C59886}">
      <dgm:prSet/>
      <dgm:spPr/>
      <dgm:t>
        <a:bodyPr/>
        <a:lstStyle/>
        <a:p>
          <a:endParaRPr lang="en-US"/>
        </a:p>
      </dgm:t>
    </dgm:pt>
    <dgm:pt modelId="{5DACD1C5-1E32-49AD-B2A0-7C6078F06FB0}" type="pres">
      <dgm:prSet presAssocID="{E8B54F1B-5A3B-4631-AD17-87B49FED78A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4F82FD25-9B15-41AD-A5E6-37953A95F6D9}" type="pres">
      <dgm:prSet presAssocID="{E8B54F1B-5A3B-4631-AD17-87B49FED78A4}" presName="Name1" presStyleCnt="0"/>
      <dgm:spPr/>
      <dgm:t>
        <a:bodyPr/>
        <a:lstStyle/>
        <a:p>
          <a:endParaRPr lang="en-US"/>
        </a:p>
      </dgm:t>
    </dgm:pt>
    <dgm:pt modelId="{AAE3AA36-7B75-418F-A331-01F4F71771D8}" type="pres">
      <dgm:prSet presAssocID="{E8B54F1B-5A3B-4631-AD17-87B49FED78A4}" presName="cycle" presStyleCnt="0"/>
      <dgm:spPr/>
      <dgm:t>
        <a:bodyPr/>
        <a:lstStyle/>
        <a:p>
          <a:endParaRPr lang="en-US"/>
        </a:p>
      </dgm:t>
    </dgm:pt>
    <dgm:pt modelId="{7A716D25-66F1-4D3B-AA70-92B620638302}" type="pres">
      <dgm:prSet presAssocID="{E8B54F1B-5A3B-4631-AD17-87B49FED78A4}" presName="srcNode" presStyleLbl="node1" presStyleIdx="0" presStyleCnt="6"/>
      <dgm:spPr/>
      <dgm:t>
        <a:bodyPr/>
        <a:lstStyle/>
        <a:p>
          <a:endParaRPr lang="en-US"/>
        </a:p>
      </dgm:t>
    </dgm:pt>
    <dgm:pt modelId="{66B8A21A-37D7-4FFD-8D65-248EDCBA9648}" type="pres">
      <dgm:prSet presAssocID="{E8B54F1B-5A3B-4631-AD17-87B49FED78A4}" presName="conn" presStyleLbl="parChTrans1D2" presStyleIdx="0" presStyleCnt="1"/>
      <dgm:spPr/>
      <dgm:t>
        <a:bodyPr/>
        <a:lstStyle/>
        <a:p>
          <a:endParaRPr lang="en-US"/>
        </a:p>
      </dgm:t>
    </dgm:pt>
    <dgm:pt modelId="{C49E930F-C584-49E4-9906-90EFD780F24D}" type="pres">
      <dgm:prSet presAssocID="{E8B54F1B-5A3B-4631-AD17-87B49FED78A4}" presName="extraNode" presStyleLbl="node1" presStyleIdx="0" presStyleCnt="6"/>
      <dgm:spPr/>
      <dgm:t>
        <a:bodyPr/>
        <a:lstStyle/>
        <a:p>
          <a:endParaRPr lang="en-US"/>
        </a:p>
      </dgm:t>
    </dgm:pt>
    <dgm:pt modelId="{F8E1C646-2F96-413E-8997-DD1ABCD8CEF2}" type="pres">
      <dgm:prSet presAssocID="{E8B54F1B-5A3B-4631-AD17-87B49FED78A4}" presName="dstNode" presStyleLbl="node1" presStyleIdx="0" presStyleCnt="6"/>
      <dgm:spPr/>
      <dgm:t>
        <a:bodyPr/>
        <a:lstStyle/>
        <a:p>
          <a:endParaRPr lang="en-US"/>
        </a:p>
      </dgm:t>
    </dgm:pt>
    <dgm:pt modelId="{9E78E23F-A298-412A-BF99-296BA0E50705}" type="pres">
      <dgm:prSet presAssocID="{F49DAA38-89F6-425A-B074-A1BF4A8923ED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049DD5-D83E-4BF0-8910-E992C8D5EECC}" type="pres">
      <dgm:prSet presAssocID="{F49DAA38-89F6-425A-B074-A1BF4A8923ED}" presName="accent_1" presStyleCnt="0"/>
      <dgm:spPr/>
      <dgm:t>
        <a:bodyPr/>
        <a:lstStyle/>
        <a:p>
          <a:endParaRPr lang="en-US"/>
        </a:p>
      </dgm:t>
    </dgm:pt>
    <dgm:pt modelId="{54178DDD-60D1-4C79-ADD7-63A0F2866320}" type="pres">
      <dgm:prSet presAssocID="{F49DAA38-89F6-425A-B074-A1BF4A8923ED}" presName="accentRepeatNode" presStyleLbl="solidFgAcc1" presStyleIdx="0" presStyleCnt="6"/>
      <dgm:spPr/>
      <dgm:t>
        <a:bodyPr/>
        <a:lstStyle/>
        <a:p>
          <a:endParaRPr lang="en-US"/>
        </a:p>
      </dgm:t>
    </dgm:pt>
    <dgm:pt modelId="{FB1BFA9D-EF9F-467C-B515-224D8C023DA4}" type="pres">
      <dgm:prSet presAssocID="{0B4E95AD-D154-4DDB-8C0C-73EA935DC17B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B3DE2A-4B69-40B3-BCB7-723ACAB104E2}" type="pres">
      <dgm:prSet presAssocID="{0B4E95AD-D154-4DDB-8C0C-73EA935DC17B}" presName="accent_2" presStyleCnt="0"/>
      <dgm:spPr/>
      <dgm:t>
        <a:bodyPr/>
        <a:lstStyle/>
        <a:p>
          <a:endParaRPr lang="en-US"/>
        </a:p>
      </dgm:t>
    </dgm:pt>
    <dgm:pt modelId="{F3D9512C-749E-4BE7-ACD0-7AD8A5163F30}" type="pres">
      <dgm:prSet presAssocID="{0B4E95AD-D154-4DDB-8C0C-73EA935DC17B}" presName="accentRepeatNode" presStyleLbl="solidFgAcc1" presStyleIdx="1" presStyleCnt="6"/>
      <dgm:spPr/>
      <dgm:t>
        <a:bodyPr/>
        <a:lstStyle/>
        <a:p>
          <a:endParaRPr lang="en-US"/>
        </a:p>
      </dgm:t>
    </dgm:pt>
    <dgm:pt modelId="{4BB6EAD2-C89D-4FD6-BF92-47B986C239DD}" type="pres">
      <dgm:prSet presAssocID="{12BD2D3C-2CEA-4B97-8674-9688217C250D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308D544-09FF-4054-83D6-2CAE1BAE8610}" type="pres">
      <dgm:prSet presAssocID="{12BD2D3C-2CEA-4B97-8674-9688217C250D}" presName="accent_3" presStyleCnt="0"/>
      <dgm:spPr/>
      <dgm:t>
        <a:bodyPr/>
        <a:lstStyle/>
        <a:p>
          <a:endParaRPr lang="en-US"/>
        </a:p>
      </dgm:t>
    </dgm:pt>
    <dgm:pt modelId="{242CC93F-3AA2-4FBC-A8E9-BBFD084243CD}" type="pres">
      <dgm:prSet presAssocID="{12BD2D3C-2CEA-4B97-8674-9688217C250D}" presName="accentRepeatNode" presStyleLbl="solidFgAcc1" presStyleIdx="2" presStyleCnt="6"/>
      <dgm:spPr/>
      <dgm:t>
        <a:bodyPr/>
        <a:lstStyle/>
        <a:p>
          <a:endParaRPr lang="en-US"/>
        </a:p>
      </dgm:t>
    </dgm:pt>
    <dgm:pt modelId="{B0E9C7DD-25A9-4FB7-8046-E2AD5D2A0A6D}" type="pres">
      <dgm:prSet presAssocID="{BD2F4191-E836-4451-80DB-1777BDF87B8B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A5DF69-F857-4515-BD91-C2A0D962A877}" type="pres">
      <dgm:prSet presAssocID="{BD2F4191-E836-4451-80DB-1777BDF87B8B}" presName="accent_4" presStyleCnt="0"/>
      <dgm:spPr/>
    </dgm:pt>
    <dgm:pt modelId="{211857EB-CA26-43E2-B181-F9DB630C9E4D}" type="pres">
      <dgm:prSet presAssocID="{BD2F4191-E836-4451-80DB-1777BDF87B8B}" presName="accentRepeatNode" presStyleLbl="solidFgAcc1" presStyleIdx="3" presStyleCnt="6"/>
      <dgm:spPr/>
    </dgm:pt>
    <dgm:pt modelId="{50FC7D47-838D-4D97-809F-DA897BCDA8A6}" type="pres">
      <dgm:prSet presAssocID="{9053BC07-0063-407A-8859-686470BF86A9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39F05D1-D94C-4099-8030-92A181E06B2E}" type="pres">
      <dgm:prSet presAssocID="{9053BC07-0063-407A-8859-686470BF86A9}" presName="accent_5" presStyleCnt="0"/>
      <dgm:spPr/>
    </dgm:pt>
    <dgm:pt modelId="{9566017C-84BF-4536-BD74-EC7B5CC19272}" type="pres">
      <dgm:prSet presAssocID="{9053BC07-0063-407A-8859-686470BF86A9}" presName="accentRepeatNode" presStyleLbl="solidFgAcc1" presStyleIdx="4" presStyleCnt="6"/>
      <dgm:spPr/>
    </dgm:pt>
    <dgm:pt modelId="{643992DD-13FD-4D45-BD40-0B8FB1E03C49}" type="pres">
      <dgm:prSet presAssocID="{03F04E75-48A0-4148-9C78-29D3ED1D2EFA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A9A6C6F-41CF-4A87-9980-1230BF97EA3A}" type="pres">
      <dgm:prSet presAssocID="{03F04E75-48A0-4148-9C78-29D3ED1D2EFA}" presName="accent_6" presStyleCnt="0"/>
      <dgm:spPr/>
    </dgm:pt>
    <dgm:pt modelId="{FB777A29-5F6F-4D25-8E90-F0A4B6992831}" type="pres">
      <dgm:prSet presAssocID="{03F04E75-48A0-4148-9C78-29D3ED1D2EFA}" presName="accentRepeatNode" presStyleLbl="solidFgAcc1" presStyleIdx="5" presStyleCnt="6"/>
      <dgm:spPr/>
    </dgm:pt>
  </dgm:ptLst>
  <dgm:cxnLst>
    <dgm:cxn modelId="{8ACAD4CC-580D-42E1-8F49-5E39537CD69D}" srcId="{E8B54F1B-5A3B-4631-AD17-87B49FED78A4}" destId="{12BD2D3C-2CEA-4B97-8674-9688217C250D}" srcOrd="2" destOrd="0" parTransId="{3EF97DD4-FFA1-4171-9426-F02679CA5AE2}" sibTransId="{0C29993B-FA53-415F-8C3C-9F8ED395DCB5}"/>
    <dgm:cxn modelId="{5D5A78F0-C51D-436E-8CA7-420D74852C1B}" type="presOf" srcId="{E8B54F1B-5A3B-4631-AD17-87B49FED78A4}" destId="{5DACD1C5-1E32-49AD-B2A0-7C6078F06FB0}" srcOrd="0" destOrd="0" presId="urn:microsoft.com/office/officeart/2008/layout/VerticalCurvedList"/>
    <dgm:cxn modelId="{DE148B01-94D8-4ED8-B7B4-B672A48884A4}" srcId="{E8B54F1B-5A3B-4631-AD17-87B49FED78A4}" destId="{F49DAA38-89F6-425A-B074-A1BF4A8923ED}" srcOrd="0" destOrd="0" parTransId="{82E047AF-4692-499D-9DFA-B2BCE830BC7C}" sibTransId="{4C5AF554-A944-4B11-9A0D-10236FB0D5E1}"/>
    <dgm:cxn modelId="{878CDD6D-5D9F-4CBD-B16B-70ED5E13556D}" type="presOf" srcId="{BD2F4191-E836-4451-80DB-1777BDF87B8B}" destId="{B0E9C7DD-25A9-4FB7-8046-E2AD5D2A0A6D}" srcOrd="0" destOrd="0" presId="urn:microsoft.com/office/officeart/2008/layout/VerticalCurvedList"/>
    <dgm:cxn modelId="{B5AB91FA-BA0E-45D5-AF03-A932E6C59886}" srcId="{E8B54F1B-5A3B-4631-AD17-87B49FED78A4}" destId="{03F04E75-48A0-4148-9C78-29D3ED1D2EFA}" srcOrd="5" destOrd="0" parTransId="{4DEA20DE-762F-4DAF-AB41-88AC6F08E295}" sibTransId="{AF60F43E-D843-48DC-87AF-32E0DE84B0FF}"/>
    <dgm:cxn modelId="{2252CE48-77F5-4963-A60F-DEBFC6270AFA}" type="presOf" srcId="{F49DAA38-89F6-425A-B074-A1BF4A8923ED}" destId="{9E78E23F-A298-412A-BF99-296BA0E50705}" srcOrd="0" destOrd="0" presId="urn:microsoft.com/office/officeart/2008/layout/VerticalCurvedList"/>
    <dgm:cxn modelId="{AC8AE0AC-30A7-4B3B-BA52-47E9014E698C}" type="presOf" srcId="{0B4E95AD-D154-4DDB-8C0C-73EA935DC17B}" destId="{FB1BFA9D-EF9F-467C-B515-224D8C023DA4}" srcOrd="0" destOrd="0" presId="urn:microsoft.com/office/officeart/2008/layout/VerticalCurvedList"/>
    <dgm:cxn modelId="{1FE13F8D-59F6-400C-8DB1-7D1DD2EFFD4F}" type="presOf" srcId="{12BD2D3C-2CEA-4B97-8674-9688217C250D}" destId="{4BB6EAD2-C89D-4FD6-BF92-47B986C239DD}" srcOrd="0" destOrd="0" presId="urn:microsoft.com/office/officeart/2008/layout/VerticalCurvedList"/>
    <dgm:cxn modelId="{2B7BA7A6-94AF-4525-A7D0-5E0A04945231}" srcId="{E8B54F1B-5A3B-4631-AD17-87B49FED78A4}" destId="{9053BC07-0063-407A-8859-686470BF86A9}" srcOrd="4" destOrd="0" parTransId="{902078E2-CA76-42FF-A7F4-6542E2790D06}" sibTransId="{85369447-1C8A-42FA-A92D-40ECCDA84704}"/>
    <dgm:cxn modelId="{0893F54C-FC80-4F8D-8746-9130F2681DE1}" type="presOf" srcId="{4C5AF554-A944-4B11-9A0D-10236FB0D5E1}" destId="{66B8A21A-37D7-4FFD-8D65-248EDCBA9648}" srcOrd="0" destOrd="0" presId="urn:microsoft.com/office/officeart/2008/layout/VerticalCurvedList"/>
    <dgm:cxn modelId="{14FE4527-3EBC-4533-9E7C-E2A7C4FE7F9B}" srcId="{E8B54F1B-5A3B-4631-AD17-87B49FED78A4}" destId="{0B4E95AD-D154-4DDB-8C0C-73EA935DC17B}" srcOrd="1" destOrd="0" parTransId="{D9515176-7390-4898-97BB-0EC36975D615}" sibTransId="{2193A246-05F1-41A8-9C1C-40ED7CB9B1AE}"/>
    <dgm:cxn modelId="{FEB6287C-F420-413F-82B9-4552F4393159}" type="presOf" srcId="{03F04E75-48A0-4148-9C78-29D3ED1D2EFA}" destId="{643992DD-13FD-4D45-BD40-0B8FB1E03C49}" srcOrd="0" destOrd="0" presId="urn:microsoft.com/office/officeart/2008/layout/VerticalCurvedList"/>
    <dgm:cxn modelId="{0780C917-715D-411A-9038-C0620ED08E74}" type="presOf" srcId="{9053BC07-0063-407A-8859-686470BF86A9}" destId="{50FC7D47-838D-4D97-809F-DA897BCDA8A6}" srcOrd="0" destOrd="0" presId="urn:microsoft.com/office/officeart/2008/layout/VerticalCurvedList"/>
    <dgm:cxn modelId="{FB953994-71FD-401A-8444-9B6C327CE2DB}" srcId="{E8B54F1B-5A3B-4631-AD17-87B49FED78A4}" destId="{BD2F4191-E836-4451-80DB-1777BDF87B8B}" srcOrd="3" destOrd="0" parTransId="{BBE51F61-FE17-4F77-B9A1-8066335B399F}" sibTransId="{3F273BA5-DF92-42CD-8438-AD4A8B762601}"/>
    <dgm:cxn modelId="{A366C108-E7B1-43F5-B069-E4E21ABFB064}" type="presParOf" srcId="{5DACD1C5-1E32-49AD-B2A0-7C6078F06FB0}" destId="{4F82FD25-9B15-41AD-A5E6-37953A95F6D9}" srcOrd="0" destOrd="0" presId="urn:microsoft.com/office/officeart/2008/layout/VerticalCurvedList"/>
    <dgm:cxn modelId="{DDAB50E6-9994-4D13-BD15-579F4236D2B4}" type="presParOf" srcId="{4F82FD25-9B15-41AD-A5E6-37953A95F6D9}" destId="{AAE3AA36-7B75-418F-A331-01F4F71771D8}" srcOrd="0" destOrd="0" presId="urn:microsoft.com/office/officeart/2008/layout/VerticalCurvedList"/>
    <dgm:cxn modelId="{7D63D71F-B890-4949-90AD-E8E72E2CDFD6}" type="presParOf" srcId="{AAE3AA36-7B75-418F-A331-01F4F71771D8}" destId="{7A716D25-66F1-4D3B-AA70-92B620638302}" srcOrd="0" destOrd="0" presId="urn:microsoft.com/office/officeart/2008/layout/VerticalCurvedList"/>
    <dgm:cxn modelId="{51B89421-CC39-4B7B-9B53-36B60F48BCF0}" type="presParOf" srcId="{AAE3AA36-7B75-418F-A331-01F4F71771D8}" destId="{66B8A21A-37D7-4FFD-8D65-248EDCBA9648}" srcOrd="1" destOrd="0" presId="urn:microsoft.com/office/officeart/2008/layout/VerticalCurvedList"/>
    <dgm:cxn modelId="{BFB960B6-31A3-4EC7-8F17-19F233D8DAE2}" type="presParOf" srcId="{AAE3AA36-7B75-418F-A331-01F4F71771D8}" destId="{C49E930F-C584-49E4-9906-90EFD780F24D}" srcOrd="2" destOrd="0" presId="urn:microsoft.com/office/officeart/2008/layout/VerticalCurvedList"/>
    <dgm:cxn modelId="{4E4FF0B7-82F4-4373-A311-3FBDA80A2834}" type="presParOf" srcId="{AAE3AA36-7B75-418F-A331-01F4F71771D8}" destId="{F8E1C646-2F96-413E-8997-DD1ABCD8CEF2}" srcOrd="3" destOrd="0" presId="urn:microsoft.com/office/officeart/2008/layout/VerticalCurvedList"/>
    <dgm:cxn modelId="{FA2553EA-C658-4604-8605-E90A18DB1675}" type="presParOf" srcId="{4F82FD25-9B15-41AD-A5E6-37953A95F6D9}" destId="{9E78E23F-A298-412A-BF99-296BA0E50705}" srcOrd="1" destOrd="0" presId="urn:microsoft.com/office/officeart/2008/layout/VerticalCurvedList"/>
    <dgm:cxn modelId="{914149CE-E9AA-4F6E-978E-175DED60D8A9}" type="presParOf" srcId="{4F82FD25-9B15-41AD-A5E6-37953A95F6D9}" destId="{AA049DD5-D83E-4BF0-8910-E992C8D5EECC}" srcOrd="2" destOrd="0" presId="urn:microsoft.com/office/officeart/2008/layout/VerticalCurvedList"/>
    <dgm:cxn modelId="{D2AB91B8-0269-4F74-B629-678EEB922F6E}" type="presParOf" srcId="{AA049DD5-D83E-4BF0-8910-E992C8D5EECC}" destId="{54178DDD-60D1-4C79-ADD7-63A0F2866320}" srcOrd="0" destOrd="0" presId="urn:microsoft.com/office/officeart/2008/layout/VerticalCurvedList"/>
    <dgm:cxn modelId="{E22E2B68-AEEF-4B3B-B8AE-1885D1D0A991}" type="presParOf" srcId="{4F82FD25-9B15-41AD-A5E6-37953A95F6D9}" destId="{FB1BFA9D-EF9F-467C-B515-224D8C023DA4}" srcOrd="3" destOrd="0" presId="urn:microsoft.com/office/officeart/2008/layout/VerticalCurvedList"/>
    <dgm:cxn modelId="{270F142C-3C76-451A-B91F-159A6814FD2B}" type="presParOf" srcId="{4F82FD25-9B15-41AD-A5E6-37953A95F6D9}" destId="{C6B3DE2A-4B69-40B3-BCB7-723ACAB104E2}" srcOrd="4" destOrd="0" presId="urn:microsoft.com/office/officeart/2008/layout/VerticalCurvedList"/>
    <dgm:cxn modelId="{338D644A-33C6-415A-A104-8D29D5B8C11F}" type="presParOf" srcId="{C6B3DE2A-4B69-40B3-BCB7-723ACAB104E2}" destId="{F3D9512C-749E-4BE7-ACD0-7AD8A5163F30}" srcOrd="0" destOrd="0" presId="urn:microsoft.com/office/officeart/2008/layout/VerticalCurvedList"/>
    <dgm:cxn modelId="{38FCA956-A804-404A-8E83-6691A23F153D}" type="presParOf" srcId="{4F82FD25-9B15-41AD-A5E6-37953A95F6D9}" destId="{4BB6EAD2-C89D-4FD6-BF92-47B986C239DD}" srcOrd="5" destOrd="0" presId="urn:microsoft.com/office/officeart/2008/layout/VerticalCurvedList"/>
    <dgm:cxn modelId="{2FA97D6F-5E1B-46B6-BFD4-E78DA3F070E1}" type="presParOf" srcId="{4F82FD25-9B15-41AD-A5E6-37953A95F6D9}" destId="{E308D544-09FF-4054-83D6-2CAE1BAE8610}" srcOrd="6" destOrd="0" presId="urn:microsoft.com/office/officeart/2008/layout/VerticalCurvedList"/>
    <dgm:cxn modelId="{3E3DD6BB-4DE0-41BE-84B8-D69C8BF6D98C}" type="presParOf" srcId="{E308D544-09FF-4054-83D6-2CAE1BAE8610}" destId="{242CC93F-3AA2-4FBC-A8E9-BBFD084243CD}" srcOrd="0" destOrd="0" presId="urn:microsoft.com/office/officeart/2008/layout/VerticalCurvedList"/>
    <dgm:cxn modelId="{990113E5-976C-4225-8931-91F844D73551}" type="presParOf" srcId="{4F82FD25-9B15-41AD-A5E6-37953A95F6D9}" destId="{B0E9C7DD-25A9-4FB7-8046-E2AD5D2A0A6D}" srcOrd="7" destOrd="0" presId="urn:microsoft.com/office/officeart/2008/layout/VerticalCurvedList"/>
    <dgm:cxn modelId="{AD2CA624-3F2A-48AC-9D11-4C6FF0AD52D7}" type="presParOf" srcId="{4F82FD25-9B15-41AD-A5E6-37953A95F6D9}" destId="{1EA5DF69-F857-4515-BD91-C2A0D962A877}" srcOrd="8" destOrd="0" presId="urn:microsoft.com/office/officeart/2008/layout/VerticalCurvedList"/>
    <dgm:cxn modelId="{434471EA-B9D1-4782-A685-89FE8A25F57E}" type="presParOf" srcId="{1EA5DF69-F857-4515-BD91-C2A0D962A877}" destId="{211857EB-CA26-43E2-B181-F9DB630C9E4D}" srcOrd="0" destOrd="0" presId="urn:microsoft.com/office/officeart/2008/layout/VerticalCurvedList"/>
    <dgm:cxn modelId="{1B564032-68D2-4B03-A942-FC684046F7BD}" type="presParOf" srcId="{4F82FD25-9B15-41AD-A5E6-37953A95F6D9}" destId="{50FC7D47-838D-4D97-809F-DA897BCDA8A6}" srcOrd="9" destOrd="0" presId="urn:microsoft.com/office/officeart/2008/layout/VerticalCurvedList"/>
    <dgm:cxn modelId="{4052A66F-0969-45EE-A56B-72468171A820}" type="presParOf" srcId="{4F82FD25-9B15-41AD-A5E6-37953A95F6D9}" destId="{B39F05D1-D94C-4099-8030-92A181E06B2E}" srcOrd="10" destOrd="0" presId="urn:microsoft.com/office/officeart/2008/layout/VerticalCurvedList"/>
    <dgm:cxn modelId="{A20D3807-632B-4293-AAB1-DCDE6BEF8A50}" type="presParOf" srcId="{B39F05D1-D94C-4099-8030-92A181E06B2E}" destId="{9566017C-84BF-4536-BD74-EC7B5CC19272}" srcOrd="0" destOrd="0" presId="urn:microsoft.com/office/officeart/2008/layout/VerticalCurvedList"/>
    <dgm:cxn modelId="{9CEE08D7-DD6C-4C4C-A299-AA6B7B811EFF}" type="presParOf" srcId="{4F82FD25-9B15-41AD-A5E6-37953A95F6D9}" destId="{643992DD-13FD-4D45-BD40-0B8FB1E03C49}" srcOrd="11" destOrd="0" presId="urn:microsoft.com/office/officeart/2008/layout/VerticalCurvedList"/>
    <dgm:cxn modelId="{FB37F37D-97C0-4043-B08B-CBD420175D73}" type="presParOf" srcId="{4F82FD25-9B15-41AD-A5E6-37953A95F6D9}" destId="{DA9A6C6F-41CF-4A87-9980-1230BF97EA3A}" srcOrd="12" destOrd="0" presId="urn:microsoft.com/office/officeart/2008/layout/VerticalCurvedList"/>
    <dgm:cxn modelId="{6056C7C6-E04A-46EC-8F21-AC5AE5CFD97B}" type="presParOf" srcId="{DA9A6C6F-41CF-4A87-9980-1230BF97EA3A}" destId="{FB777A29-5F6F-4D25-8E90-F0A4B699283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E12EED7-73A2-4FFC-8D7F-6A78EA0A92AB}" type="doc">
      <dgm:prSet loTypeId="urn:microsoft.com/office/officeart/2005/8/layout/arrow2" loCatId="process" qsTypeId="urn:microsoft.com/office/officeart/2005/8/quickstyle/3d1" qsCatId="3D" csTypeId="urn:microsoft.com/office/officeart/2005/8/colors/accent1_2" csCatId="accent1" phldr="1"/>
      <dgm:spPr/>
    </dgm:pt>
    <dgm:pt modelId="{B687C12D-DA94-4423-B0C3-7481BCB74719}">
      <dgm:prSet phldrT="[Metin]"/>
      <dgm:spPr/>
      <dgm:t>
        <a:bodyPr/>
        <a:lstStyle/>
        <a:p>
          <a:r>
            <a:rPr lang="tr-TR" dirty="0" smtClean="0"/>
            <a:t> </a:t>
          </a:r>
          <a:endParaRPr lang="en-US" dirty="0"/>
        </a:p>
      </dgm:t>
    </dgm:pt>
    <dgm:pt modelId="{0F56F30D-BCE8-41D8-8E6E-D845FA7478A6}" type="parTrans" cxnId="{9EFE746F-B27B-4EA6-B6EE-C19053794413}">
      <dgm:prSet/>
      <dgm:spPr/>
      <dgm:t>
        <a:bodyPr/>
        <a:lstStyle/>
        <a:p>
          <a:endParaRPr lang="en-US"/>
        </a:p>
      </dgm:t>
    </dgm:pt>
    <dgm:pt modelId="{929094D5-C89E-42C4-BC1D-79D1292A3B4B}" type="sibTrans" cxnId="{9EFE746F-B27B-4EA6-B6EE-C19053794413}">
      <dgm:prSet/>
      <dgm:spPr/>
      <dgm:t>
        <a:bodyPr/>
        <a:lstStyle/>
        <a:p>
          <a:endParaRPr lang="en-US"/>
        </a:p>
      </dgm:t>
    </dgm:pt>
    <dgm:pt modelId="{AFEA7242-8CDE-4C6A-97B6-F2E2F4AFA635}">
      <dgm:prSet phldrT="[Metin]"/>
      <dgm:spPr/>
      <dgm:t>
        <a:bodyPr/>
        <a:lstStyle/>
        <a:p>
          <a:r>
            <a:rPr lang="tr-TR" dirty="0" smtClean="0"/>
            <a:t> </a:t>
          </a:r>
          <a:endParaRPr lang="en-US" dirty="0"/>
        </a:p>
      </dgm:t>
    </dgm:pt>
    <dgm:pt modelId="{DF58A00A-AD39-459A-BFCC-C92134A334AE}" type="parTrans" cxnId="{55B4DBD8-FE37-42E7-A001-519922A58D52}">
      <dgm:prSet/>
      <dgm:spPr/>
      <dgm:t>
        <a:bodyPr/>
        <a:lstStyle/>
        <a:p>
          <a:endParaRPr lang="en-US"/>
        </a:p>
      </dgm:t>
    </dgm:pt>
    <dgm:pt modelId="{D595E0CD-A386-4A22-9ACF-D507DEE75DBD}" type="sibTrans" cxnId="{55B4DBD8-FE37-42E7-A001-519922A58D52}">
      <dgm:prSet/>
      <dgm:spPr/>
      <dgm:t>
        <a:bodyPr/>
        <a:lstStyle/>
        <a:p>
          <a:endParaRPr lang="en-US"/>
        </a:p>
      </dgm:t>
    </dgm:pt>
    <dgm:pt modelId="{41AEB4A9-B8A5-4EDE-827B-84A2E8BAF34F}">
      <dgm:prSet phldrT="[Metin]"/>
      <dgm:spPr/>
      <dgm:t>
        <a:bodyPr/>
        <a:lstStyle/>
        <a:p>
          <a:r>
            <a:rPr lang="tr-TR" dirty="0" smtClean="0"/>
            <a:t> </a:t>
          </a:r>
        </a:p>
      </dgm:t>
    </dgm:pt>
    <dgm:pt modelId="{1AAFCAA4-B14F-45B6-8F7A-AFF6CA3F2FFA}" type="sibTrans" cxnId="{A99E3490-63A8-4E00-BA36-D04B6890B990}">
      <dgm:prSet/>
      <dgm:spPr/>
      <dgm:t>
        <a:bodyPr/>
        <a:lstStyle/>
        <a:p>
          <a:endParaRPr lang="en-US"/>
        </a:p>
      </dgm:t>
    </dgm:pt>
    <dgm:pt modelId="{A007873A-7CB1-406C-A393-FB1A5BA9AE89}" type="parTrans" cxnId="{A99E3490-63A8-4E00-BA36-D04B6890B990}">
      <dgm:prSet/>
      <dgm:spPr/>
      <dgm:t>
        <a:bodyPr/>
        <a:lstStyle/>
        <a:p>
          <a:endParaRPr lang="en-US"/>
        </a:p>
      </dgm:t>
    </dgm:pt>
    <dgm:pt modelId="{3E6293E9-CCEA-4BEF-B7CE-5AF6B2AAD431}" type="pres">
      <dgm:prSet presAssocID="{3E12EED7-73A2-4FFC-8D7F-6A78EA0A92AB}" presName="arrowDiagram" presStyleCnt="0">
        <dgm:presLayoutVars>
          <dgm:chMax val="5"/>
          <dgm:dir/>
          <dgm:resizeHandles val="exact"/>
        </dgm:presLayoutVars>
      </dgm:prSet>
      <dgm:spPr/>
    </dgm:pt>
    <dgm:pt modelId="{6400F77D-F230-4CB5-BDF7-883C12972BC1}" type="pres">
      <dgm:prSet presAssocID="{3E12EED7-73A2-4FFC-8D7F-6A78EA0A92AB}" presName="arrow" presStyleLbl="bgShp" presStyleIdx="0" presStyleCnt="1" custLinFactNeighborX="357"/>
      <dgm:spPr/>
    </dgm:pt>
    <dgm:pt modelId="{8814BFC7-30E2-4F88-AEC6-47F634D4FA59}" type="pres">
      <dgm:prSet presAssocID="{3E12EED7-73A2-4FFC-8D7F-6A78EA0A92AB}" presName="arrowDiagram3" presStyleCnt="0"/>
      <dgm:spPr/>
    </dgm:pt>
    <dgm:pt modelId="{02FD1FF7-7D71-4EB5-9CE7-CC8FC7A9E9CB}" type="pres">
      <dgm:prSet presAssocID="{41AEB4A9-B8A5-4EDE-827B-84A2E8BAF34F}" presName="bullet3a" presStyleLbl="node1" presStyleIdx="0" presStyleCnt="3"/>
      <dgm:spPr/>
    </dgm:pt>
    <dgm:pt modelId="{A342817C-692E-47FA-B6E7-76A39100A7E3}" type="pres">
      <dgm:prSet presAssocID="{41AEB4A9-B8A5-4EDE-827B-84A2E8BAF34F}" presName="textBox3a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2A5C7B-BA4F-4853-85C9-0BA6874170BA}" type="pres">
      <dgm:prSet presAssocID="{B687C12D-DA94-4423-B0C3-7481BCB74719}" presName="bullet3b" presStyleLbl="node1" presStyleIdx="1" presStyleCnt="3"/>
      <dgm:spPr/>
    </dgm:pt>
    <dgm:pt modelId="{37ABEC9E-AF0A-4D64-AF55-CFE65F3F417A}" type="pres">
      <dgm:prSet presAssocID="{B687C12D-DA94-4423-B0C3-7481BCB74719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AE35E5-53DF-44F9-9FAE-4F94D01E9BC4}" type="pres">
      <dgm:prSet presAssocID="{AFEA7242-8CDE-4C6A-97B6-F2E2F4AFA635}" presName="bullet3c" presStyleLbl="node1" presStyleIdx="2" presStyleCnt="3"/>
      <dgm:spPr/>
    </dgm:pt>
    <dgm:pt modelId="{068DAE73-10C1-46F8-B0E0-C7B4E812D708}" type="pres">
      <dgm:prSet presAssocID="{AFEA7242-8CDE-4C6A-97B6-F2E2F4AFA635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E713D1F-5C75-4D84-872A-61062025C439}" type="presOf" srcId="{AFEA7242-8CDE-4C6A-97B6-F2E2F4AFA635}" destId="{068DAE73-10C1-46F8-B0E0-C7B4E812D708}" srcOrd="0" destOrd="0" presId="urn:microsoft.com/office/officeart/2005/8/layout/arrow2"/>
    <dgm:cxn modelId="{800AF116-172D-448C-8242-A69303E23418}" type="presOf" srcId="{41AEB4A9-B8A5-4EDE-827B-84A2E8BAF34F}" destId="{A342817C-692E-47FA-B6E7-76A39100A7E3}" srcOrd="0" destOrd="0" presId="urn:microsoft.com/office/officeart/2005/8/layout/arrow2"/>
    <dgm:cxn modelId="{55B4DBD8-FE37-42E7-A001-519922A58D52}" srcId="{3E12EED7-73A2-4FFC-8D7F-6A78EA0A92AB}" destId="{AFEA7242-8CDE-4C6A-97B6-F2E2F4AFA635}" srcOrd="2" destOrd="0" parTransId="{DF58A00A-AD39-459A-BFCC-C92134A334AE}" sibTransId="{D595E0CD-A386-4A22-9ACF-D507DEE75DBD}"/>
    <dgm:cxn modelId="{21E0A98E-7869-4160-881E-2B446B507DF1}" type="presOf" srcId="{3E12EED7-73A2-4FFC-8D7F-6A78EA0A92AB}" destId="{3E6293E9-CCEA-4BEF-B7CE-5AF6B2AAD431}" srcOrd="0" destOrd="0" presId="urn:microsoft.com/office/officeart/2005/8/layout/arrow2"/>
    <dgm:cxn modelId="{9EFE746F-B27B-4EA6-B6EE-C19053794413}" srcId="{3E12EED7-73A2-4FFC-8D7F-6A78EA0A92AB}" destId="{B687C12D-DA94-4423-B0C3-7481BCB74719}" srcOrd="1" destOrd="0" parTransId="{0F56F30D-BCE8-41D8-8E6E-D845FA7478A6}" sibTransId="{929094D5-C89E-42C4-BC1D-79D1292A3B4B}"/>
    <dgm:cxn modelId="{A99E3490-63A8-4E00-BA36-D04B6890B990}" srcId="{3E12EED7-73A2-4FFC-8D7F-6A78EA0A92AB}" destId="{41AEB4A9-B8A5-4EDE-827B-84A2E8BAF34F}" srcOrd="0" destOrd="0" parTransId="{A007873A-7CB1-406C-A393-FB1A5BA9AE89}" sibTransId="{1AAFCAA4-B14F-45B6-8F7A-AFF6CA3F2FFA}"/>
    <dgm:cxn modelId="{8DB487DE-9A25-4B20-8D60-5216A0898A6C}" type="presOf" srcId="{B687C12D-DA94-4423-B0C3-7481BCB74719}" destId="{37ABEC9E-AF0A-4D64-AF55-CFE65F3F417A}" srcOrd="0" destOrd="0" presId="urn:microsoft.com/office/officeart/2005/8/layout/arrow2"/>
    <dgm:cxn modelId="{BA781177-F164-4424-BB9B-8E50C1D9085D}" type="presParOf" srcId="{3E6293E9-CCEA-4BEF-B7CE-5AF6B2AAD431}" destId="{6400F77D-F230-4CB5-BDF7-883C12972BC1}" srcOrd="0" destOrd="0" presId="urn:microsoft.com/office/officeart/2005/8/layout/arrow2"/>
    <dgm:cxn modelId="{A519E891-9D82-4F9F-8AA0-17471D093DCB}" type="presParOf" srcId="{3E6293E9-CCEA-4BEF-B7CE-5AF6B2AAD431}" destId="{8814BFC7-30E2-4F88-AEC6-47F634D4FA59}" srcOrd="1" destOrd="0" presId="urn:microsoft.com/office/officeart/2005/8/layout/arrow2"/>
    <dgm:cxn modelId="{BA4D76CC-8F3A-4488-AAE0-BC8C952ED536}" type="presParOf" srcId="{8814BFC7-30E2-4F88-AEC6-47F634D4FA59}" destId="{02FD1FF7-7D71-4EB5-9CE7-CC8FC7A9E9CB}" srcOrd="0" destOrd="0" presId="urn:microsoft.com/office/officeart/2005/8/layout/arrow2"/>
    <dgm:cxn modelId="{4D57407D-4927-4194-A2EB-F3070F0228B2}" type="presParOf" srcId="{8814BFC7-30E2-4F88-AEC6-47F634D4FA59}" destId="{A342817C-692E-47FA-B6E7-76A39100A7E3}" srcOrd="1" destOrd="0" presId="urn:microsoft.com/office/officeart/2005/8/layout/arrow2"/>
    <dgm:cxn modelId="{93BC9688-E3EE-453B-B338-D3ED38220E23}" type="presParOf" srcId="{8814BFC7-30E2-4F88-AEC6-47F634D4FA59}" destId="{A12A5C7B-BA4F-4853-85C9-0BA6874170BA}" srcOrd="2" destOrd="0" presId="urn:microsoft.com/office/officeart/2005/8/layout/arrow2"/>
    <dgm:cxn modelId="{F93A988B-8860-4E10-BB65-139650AED426}" type="presParOf" srcId="{8814BFC7-30E2-4F88-AEC6-47F634D4FA59}" destId="{37ABEC9E-AF0A-4D64-AF55-CFE65F3F417A}" srcOrd="3" destOrd="0" presId="urn:microsoft.com/office/officeart/2005/8/layout/arrow2"/>
    <dgm:cxn modelId="{F78AC032-978F-4BC9-B1FC-095177572424}" type="presParOf" srcId="{8814BFC7-30E2-4F88-AEC6-47F634D4FA59}" destId="{CAAE35E5-53DF-44F9-9FAE-4F94D01E9BC4}" srcOrd="4" destOrd="0" presId="urn:microsoft.com/office/officeart/2005/8/layout/arrow2"/>
    <dgm:cxn modelId="{5EBB0A30-1F8A-4D5F-BE05-8699DB43228C}" type="presParOf" srcId="{8814BFC7-30E2-4F88-AEC6-47F634D4FA59}" destId="{068DAE73-10C1-46F8-B0E0-C7B4E812D708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B69C2F5-C3C2-483C-A032-00A2D67587F4}" type="doc">
      <dgm:prSet loTypeId="urn:microsoft.com/office/officeart/2008/layout/BendingPictureCaption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00E0A43-A621-4643-93CB-24ABDD1974FF}">
      <dgm:prSet phldrT="[Metin]"/>
      <dgm:spPr/>
      <dgm:t>
        <a:bodyPr/>
        <a:lstStyle/>
        <a:p>
          <a:r>
            <a:rPr lang="tr-TR" dirty="0" smtClean="0"/>
            <a:t>Auto Truck </a:t>
          </a:r>
          <a:r>
            <a:rPr lang="tr-TR" dirty="0" err="1" smtClean="0"/>
            <a:t>Spare</a:t>
          </a:r>
          <a:r>
            <a:rPr lang="tr-TR" dirty="0" smtClean="0"/>
            <a:t> </a:t>
          </a:r>
          <a:r>
            <a:rPr lang="tr-TR" dirty="0" err="1" smtClean="0"/>
            <a:t>Parts</a:t>
          </a:r>
          <a:endParaRPr lang="en-US" dirty="0"/>
        </a:p>
      </dgm:t>
    </dgm:pt>
    <dgm:pt modelId="{26E108C9-5C38-4FD9-A79D-51E76011E7E5}" type="parTrans" cxnId="{76A26EB2-F67E-4C11-9319-9105E36BD166}">
      <dgm:prSet/>
      <dgm:spPr/>
      <dgm:t>
        <a:bodyPr/>
        <a:lstStyle/>
        <a:p>
          <a:endParaRPr lang="en-US"/>
        </a:p>
      </dgm:t>
    </dgm:pt>
    <dgm:pt modelId="{252BAF4C-A7EC-45D7-92ED-086F1AAB3629}" type="sibTrans" cxnId="{76A26EB2-F67E-4C11-9319-9105E36BD166}">
      <dgm:prSet/>
      <dgm:spPr/>
      <dgm:t>
        <a:bodyPr/>
        <a:lstStyle/>
        <a:p>
          <a:endParaRPr lang="en-US"/>
        </a:p>
      </dgm:t>
    </dgm:pt>
    <dgm:pt modelId="{75D38A63-5B7F-47BA-97FD-84D725BED536}">
      <dgm:prSet phldrT="[Metin]"/>
      <dgm:spPr/>
      <dgm:t>
        <a:bodyPr/>
        <a:lstStyle/>
        <a:p>
          <a:r>
            <a:rPr lang="tr-TR" dirty="0" smtClean="0"/>
            <a:t>Construction </a:t>
          </a:r>
          <a:r>
            <a:rPr lang="tr-TR" dirty="0" err="1" smtClean="0"/>
            <a:t>Machinery</a:t>
          </a:r>
          <a:r>
            <a:rPr lang="tr-TR" dirty="0" smtClean="0"/>
            <a:t> </a:t>
          </a:r>
          <a:r>
            <a:rPr lang="tr-TR" dirty="0" err="1" smtClean="0"/>
            <a:t>Spare</a:t>
          </a:r>
          <a:r>
            <a:rPr lang="tr-TR" dirty="0" smtClean="0"/>
            <a:t> </a:t>
          </a:r>
          <a:r>
            <a:rPr lang="tr-TR" dirty="0" err="1" smtClean="0"/>
            <a:t>Parts</a:t>
          </a:r>
          <a:endParaRPr lang="en-US" dirty="0"/>
        </a:p>
      </dgm:t>
    </dgm:pt>
    <dgm:pt modelId="{922B1924-4108-4F82-9D85-A45414626685}" type="sibTrans" cxnId="{323A4401-36BB-435B-873E-660CC7614351}">
      <dgm:prSet/>
      <dgm:spPr/>
      <dgm:t>
        <a:bodyPr/>
        <a:lstStyle/>
        <a:p>
          <a:endParaRPr lang="en-US"/>
        </a:p>
      </dgm:t>
    </dgm:pt>
    <dgm:pt modelId="{9618455A-0F51-4712-A2D2-E85F0FE77374}" type="parTrans" cxnId="{323A4401-36BB-435B-873E-660CC7614351}">
      <dgm:prSet/>
      <dgm:spPr/>
      <dgm:t>
        <a:bodyPr/>
        <a:lstStyle/>
        <a:p>
          <a:endParaRPr lang="en-US"/>
        </a:p>
      </dgm:t>
    </dgm:pt>
    <dgm:pt modelId="{00C3FBC6-AB4C-4988-B1AB-90DE8443D0BE}" type="pres">
      <dgm:prSet presAssocID="{BB69C2F5-C3C2-483C-A032-00A2D67587F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23CF8FF-B402-46A7-849D-8FDCB2D256B9}" type="pres">
      <dgm:prSet presAssocID="{75D38A63-5B7F-47BA-97FD-84D725BED536}" presName="composite" presStyleCnt="0"/>
      <dgm:spPr/>
    </dgm:pt>
    <dgm:pt modelId="{6A05655B-0F37-476F-8ED3-FE7BBFC34F69}" type="pres">
      <dgm:prSet presAssocID="{75D38A63-5B7F-47BA-97FD-84D725BED536}" presName="rect1" presStyleLbl="bgImgPlace1" presStyleIdx="0" presStyleCnt="2" custScaleX="153136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8000" b="-58000"/>
          </a:stretch>
        </a:blipFill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2"/>
          </dgm14:cNvPr>
        </a:ext>
      </dgm:extLst>
    </dgm:pt>
    <dgm:pt modelId="{6593CD4B-0DB4-41B5-B281-36AD64D6F1F2}" type="pres">
      <dgm:prSet presAssocID="{75D38A63-5B7F-47BA-97FD-84D725BED536}" presName="wedgeRectCallout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51823C4-1E22-4CE5-8BD6-A29C6D02620C}" type="pres">
      <dgm:prSet presAssocID="{922B1924-4108-4F82-9D85-A45414626685}" presName="sibTrans" presStyleCnt="0"/>
      <dgm:spPr/>
    </dgm:pt>
    <dgm:pt modelId="{FB9F7D22-D760-43E8-A383-1257C7FAE337}" type="pres">
      <dgm:prSet presAssocID="{600E0A43-A621-4643-93CB-24ABDD1974FF}" presName="composite" presStyleCnt="0"/>
      <dgm:spPr/>
    </dgm:pt>
    <dgm:pt modelId="{BF7F5C49-73FA-450C-B12F-5B9FFAF9E92A}" type="pres">
      <dgm:prSet presAssocID="{600E0A43-A621-4643-93CB-24ABDD1974FF}" presName="rect1" presStyleLbl="bgImgPlace1" presStyleIdx="1" presStyleCnt="2" custScaleX="14523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0" b="-50000"/>
          </a:stretch>
        </a:blipFill>
      </dgm:spPr>
      <dgm:t>
        <a:bodyPr/>
        <a:lstStyle/>
        <a:p>
          <a:endParaRPr lang="en-US"/>
        </a:p>
      </dgm:t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4"/>
          </dgm14:cNvPr>
        </a:ext>
      </dgm:extLst>
    </dgm:pt>
    <dgm:pt modelId="{DEE16224-1999-4991-BA68-5EA73231AF5A}" type="pres">
      <dgm:prSet presAssocID="{600E0A43-A621-4643-93CB-24ABDD1974FF}" presName="wedgeRectCallout1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1414936-32A5-4E28-A8E3-B81D5AFD9A51}" type="presOf" srcId="{BB69C2F5-C3C2-483C-A032-00A2D67587F4}" destId="{00C3FBC6-AB4C-4988-B1AB-90DE8443D0BE}" srcOrd="0" destOrd="0" presId="urn:microsoft.com/office/officeart/2008/layout/BendingPictureCaptionList"/>
    <dgm:cxn modelId="{76A26EB2-F67E-4C11-9319-9105E36BD166}" srcId="{BB69C2F5-C3C2-483C-A032-00A2D67587F4}" destId="{600E0A43-A621-4643-93CB-24ABDD1974FF}" srcOrd="1" destOrd="0" parTransId="{26E108C9-5C38-4FD9-A79D-51E76011E7E5}" sibTransId="{252BAF4C-A7EC-45D7-92ED-086F1AAB3629}"/>
    <dgm:cxn modelId="{65349743-D136-40DE-8F39-CA225A1B6147}" type="presOf" srcId="{75D38A63-5B7F-47BA-97FD-84D725BED536}" destId="{6593CD4B-0DB4-41B5-B281-36AD64D6F1F2}" srcOrd="0" destOrd="0" presId="urn:microsoft.com/office/officeart/2008/layout/BendingPictureCaptionList"/>
    <dgm:cxn modelId="{323A4401-36BB-435B-873E-660CC7614351}" srcId="{BB69C2F5-C3C2-483C-A032-00A2D67587F4}" destId="{75D38A63-5B7F-47BA-97FD-84D725BED536}" srcOrd="0" destOrd="0" parTransId="{9618455A-0F51-4712-A2D2-E85F0FE77374}" sibTransId="{922B1924-4108-4F82-9D85-A45414626685}"/>
    <dgm:cxn modelId="{1D1D93F0-CC49-49D1-ACAE-0105FBA8E2F8}" type="presOf" srcId="{600E0A43-A621-4643-93CB-24ABDD1974FF}" destId="{DEE16224-1999-4991-BA68-5EA73231AF5A}" srcOrd="0" destOrd="0" presId="urn:microsoft.com/office/officeart/2008/layout/BendingPictureCaptionList"/>
    <dgm:cxn modelId="{B0F59444-81DE-4B25-9C1F-41A7ACFBDF46}" type="presParOf" srcId="{00C3FBC6-AB4C-4988-B1AB-90DE8443D0BE}" destId="{C23CF8FF-B402-46A7-849D-8FDCB2D256B9}" srcOrd="0" destOrd="0" presId="urn:microsoft.com/office/officeart/2008/layout/BendingPictureCaptionList"/>
    <dgm:cxn modelId="{16367C09-F6DC-4CD8-955D-4CB1A8AA78B0}" type="presParOf" srcId="{C23CF8FF-B402-46A7-849D-8FDCB2D256B9}" destId="{6A05655B-0F37-476F-8ED3-FE7BBFC34F69}" srcOrd="0" destOrd="0" presId="urn:microsoft.com/office/officeart/2008/layout/BendingPictureCaptionList"/>
    <dgm:cxn modelId="{D3409EFD-C1C5-4293-A9E2-863E04C5A4CC}" type="presParOf" srcId="{C23CF8FF-B402-46A7-849D-8FDCB2D256B9}" destId="{6593CD4B-0DB4-41B5-B281-36AD64D6F1F2}" srcOrd="1" destOrd="0" presId="urn:microsoft.com/office/officeart/2008/layout/BendingPictureCaptionList"/>
    <dgm:cxn modelId="{6A9C1DD8-73DB-467D-8447-C2D71775D5D9}" type="presParOf" srcId="{00C3FBC6-AB4C-4988-B1AB-90DE8443D0BE}" destId="{051823C4-1E22-4CE5-8BD6-A29C6D02620C}" srcOrd="1" destOrd="0" presId="urn:microsoft.com/office/officeart/2008/layout/BendingPictureCaptionList"/>
    <dgm:cxn modelId="{3EF1F8CA-01B7-4BD7-8EE3-39D75B6B9FD7}" type="presParOf" srcId="{00C3FBC6-AB4C-4988-B1AB-90DE8443D0BE}" destId="{FB9F7D22-D760-43E8-A383-1257C7FAE337}" srcOrd="2" destOrd="0" presId="urn:microsoft.com/office/officeart/2008/layout/BendingPictureCaptionList"/>
    <dgm:cxn modelId="{FCACEEBE-27AD-4594-8CF7-A3E56DA31C44}" type="presParOf" srcId="{FB9F7D22-D760-43E8-A383-1257C7FAE337}" destId="{BF7F5C49-73FA-450C-B12F-5B9FFAF9E92A}" srcOrd="0" destOrd="0" presId="urn:microsoft.com/office/officeart/2008/layout/BendingPictureCaptionList"/>
    <dgm:cxn modelId="{59818066-86AF-4C0B-BB34-755B5AC70633}" type="presParOf" srcId="{FB9F7D22-D760-43E8-A383-1257C7FAE337}" destId="{DEE16224-1999-4991-BA68-5EA73231AF5A}" srcOrd="1" destOrd="0" presId="urn:microsoft.com/office/officeart/2008/layout/BendingPictureCap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B8A21A-37D7-4FFD-8D65-248EDCBA9648}">
      <dsp:nvSpPr>
        <dsp:cNvPr id="0" name=""/>
        <dsp:cNvSpPr/>
      </dsp:nvSpPr>
      <dsp:spPr>
        <a:xfrm>
          <a:off x="-4803043" y="-736137"/>
          <a:ext cx="5720746" cy="5720746"/>
        </a:xfrm>
        <a:prstGeom prst="blockArc">
          <a:avLst>
            <a:gd name="adj1" fmla="val 18900000"/>
            <a:gd name="adj2" fmla="val 2700000"/>
            <a:gd name="adj3" fmla="val 378"/>
          </a:avLst>
        </a:prstGeom>
        <a:noFill/>
        <a:ln w="425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78E23F-A298-412A-BF99-296BA0E50705}">
      <dsp:nvSpPr>
        <dsp:cNvPr id="0" name=""/>
        <dsp:cNvSpPr/>
      </dsp:nvSpPr>
      <dsp:spPr>
        <a:xfrm>
          <a:off x="342530" y="223724"/>
          <a:ext cx="4927960" cy="44727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028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100" kern="1200" dirty="0" err="1" smtClean="0">
              <a:latin typeface="Century Gothic" panose="020B0502020202020204" pitchFamily="34" charset="0"/>
            </a:rPr>
            <a:t>About</a:t>
          </a:r>
          <a:r>
            <a:rPr lang="tr-TR" sz="2100" kern="1200" dirty="0" smtClean="0">
              <a:latin typeface="Century Gothic" panose="020B0502020202020204" pitchFamily="34" charset="0"/>
            </a:rPr>
            <a:t> Us</a:t>
          </a:r>
          <a:endParaRPr lang="en-US" sz="2100" kern="1200" dirty="0">
            <a:latin typeface="Century Gothic" panose="020B0502020202020204" pitchFamily="34" charset="0"/>
          </a:endParaRPr>
        </a:p>
      </dsp:txBody>
      <dsp:txXfrm>
        <a:off x="342530" y="223724"/>
        <a:ext cx="4927960" cy="447279"/>
      </dsp:txXfrm>
    </dsp:sp>
    <dsp:sp modelId="{54178DDD-60D1-4C79-ADD7-63A0F2866320}">
      <dsp:nvSpPr>
        <dsp:cNvPr id="0" name=""/>
        <dsp:cNvSpPr/>
      </dsp:nvSpPr>
      <dsp:spPr>
        <a:xfrm>
          <a:off x="62981" y="167814"/>
          <a:ext cx="559098" cy="559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1BFA9D-EF9F-467C-B515-224D8C023DA4}">
      <dsp:nvSpPr>
        <dsp:cNvPr id="0" name=""/>
        <dsp:cNvSpPr/>
      </dsp:nvSpPr>
      <dsp:spPr>
        <a:xfrm>
          <a:off x="710448" y="894558"/>
          <a:ext cx="4560042" cy="44727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028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>
              <a:latin typeface="Century Gothic" panose="020B0502020202020204" pitchFamily="34" charset="0"/>
            </a:rPr>
            <a:t>Our </a:t>
          </a:r>
          <a:r>
            <a:rPr lang="tr-TR" sz="2100" kern="1200" dirty="0" smtClean="0">
              <a:latin typeface="Century Gothic" panose="020B0502020202020204" pitchFamily="34" charset="0"/>
            </a:rPr>
            <a:t>Services</a:t>
          </a:r>
          <a:endParaRPr lang="en-US" sz="2100" kern="1200" dirty="0">
            <a:latin typeface="Century Gothic" panose="020B0502020202020204" pitchFamily="34" charset="0"/>
          </a:endParaRPr>
        </a:p>
      </dsp:txBody>
      <dsp:txXfrm>
        <a:off x="710448" y="894558"/>
        <a:ext cx="4560042" cy="447279"/>
      </dsp:txXfrm>
    </dsp:sp>
    <dsp:sp modelId="{F3D9512C-749E-4BE7-ACD0-7AD8A5163F30}">
      <dsp:nvSpPr>
        <dsp:cNvPr id="0" name=""/>
        <dsp:cNvSpPr/>
      </dsp:nvSpPr>
      <dsp:spPr>
        <a:xfrm>
          <a:off x="430899" y="838648"/>
          <a:ext cx="559098" cy="559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BB6EAD2-C89D-4FD6-BF92-47B986C239DD}">
      <dsp:nvSpPr>
        <dsp:cNvPr id="0" name=""/>
        <dsp:cNvSpPr/>
      </dsp:nvSpPr>
      <dsp:spPr>
        <a:xfrm>
          <a:off x="878687" y="1565391"/>
          <a:ext cx="4391802" cy="44727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028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>
              <a:latin typeface="Century Gothic" panose="020B0502020202020204" pitchFamily="34" charset="0"/>
            </a:rPr>
            <a:t>Customer &amp; Product Overview</a:t>
          </a:r>
          <a:endParaRPr lang="tr-TR" sz="2100" kern="1200" dirty="0" smtClean="0">
            <a:latin typeface="Century Gothic" panose="020B0502020202020204" pitchFamily="34" charset="0"/>
          </a:endParaRPr>
        </a:p>
      </dsp:txBody>
      <dsp:txXfrm>
        <a:off x="878687" y="1565391"/>
        <a:ext cx="4391802" cy="447279"/>
      </dsp:txXfrm>
    </dsp:sp>
    <dsp:sp modelId="{242CC93F-3AA2-4FBC-A8E9-BBFD084243CD}">
      <dsp:nvSpPr>
        <dsp:cNvPr id="0" name=""/>
        <dsp:cNvSpPr/>
      </dsp:nvSpPr>
      <dsp:spPr>
        <a:xfrm>
          <a:off x="599138" y="1509482"/>
          <a:ext cx="559098" cy="559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E9C7DD-25A9-4FB7-8046-E2AD5D2A0A6D}">
      <dsp:nvSpPr>
        <dsp:cNvPr id="0" name=""/>
        <dsp:cNvSpPr/>
      </dsp:nvSpPr>
      <dsp:spPr>
        <a:xfrm>
          <a:off x="878687" y="2235800"/>
          <a:ext cx="4391802" cy="44727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028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100" kern="1200" dirty="0" err="1" smtClean="0">
              <a:latin typeface="Century Gothic" panose="020B0502020202020204" pitchFamily="34" charset="0"/>
            </a:rPr>
            <a:t>Driven</a:t>
          </a:r>
          <a:r>
            <a:rPr lang="tr-TR" sz="2100" kern="1200" dirty="0" smtClean="0">
              <a:latin typeface="Century Gothic" panose="020B0502020202020204" pitchFamily="34" charset="0"/>
            </a:rPr>
            <a:t> </a:t>
          </a:r>
          <a:r>
            <a:rPr lang="tr-TR" sz="2100" kern="1200" dirty="0" err="1" smtClean="0">
              <a:latin typeface="Century Gothic" panose="020B0502020202020204" pitchFamily="34" charset="0"/>
            </a:rPr>
            <a:t>Progress</a:t>
          </a:r>
          <a:endParaRPr lang="tr-TR" sz="2100" kern="1200" dirty="0" smtClean="0">
            <a:latin typeface="Century Gothic" panose="020B0502020202020204" pitchFamily="34" charset="0"/>
          </a:endParaRPr>
        </a:p>
      </dsp:txBody>
      <dsp:txXfrm>
        <a:off x="878687" y="2235800"/>
        <a:ext cx="4391802" cy="447279"/>
      </dsp:txXfrm>
    </dsp:sp>
    <dsp:sp modelId="{211857EB-CA26-43E2-B181-F9DB630C9E4D}">
      <dsp:nvSpPr>
        <dsp:cNvPr id="0" name=""/>
        <dsp:cNvSpPr/>
      </dsp:nvSpPr>
      <dsp:spPr>
        <a:xfrm>
          <a:off x="599138" y="2179890"/>
          <a:ext cx="559098" cy="559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FC7D47-838D-4D97-809F-DA897BCDA8A6}">
      <dsp:nvSpPr>
        <dsp:cNvPr id="0" name=""/>
        <dsp:cNvSpPr/>
      </dsp:nvSpPr>
      <dsp:spPr>
        <a:xfrm>
          <a:off x="710448" y="2906634"/>
          <a:ext cx="4560042" cy="44727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028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>
              <a:latin typeface="Century Gothic" panose="020B0502020202020204" pitchFamily="34" charset="0"/>
            </a:rPr>
            <a:t>Our Advantages</a:t>
          </a:r>
          <a:endParaRPr lang="tr-TR" sz="2100" kern="1200" dirty="0" smtClean="0">
            <a:latin typeface="Century Gothic" panose="020B0502020202020204" pitchFamily="34" charset="0"/>
          </a:endParaRPr>
        </a:p>
      </dsp:txBody>
      <dsp:txXfrm>
        <a:off x="710448" y="2906634"/>
        <a:ext cx="4560042" cy="447279"/>
      </dsp:txXfrm>
    </dsp:sp>
    <dsp:sp modelId="{9566017C-84BF-4536-BD74-EC7B5CC19272}">
      <dsp:nvSpPr>
        <dsp:cNvPr id="0" name=""/>
        <dsp:cNvSpPr/>
      </dsp:nvSpPr>
      <dsp:spPr>
        <a:xfrm>
          <a:off x="430899" y="2850724"/>
          <a:ext cx="559098" cy="559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3992DD-13FD-4D45-BD40-0B8FB1E03C49}">
      <dsp:nvSpPr>
        <dsp:cNvPr id="0" name=""/>
        <dsp:cNvSpPr/>
      </dsp:nvSpPr>
      <dsp:spPr>
        <a:xfrm>
          <a:off x="342530" y="3577468"/>
          <a:ext cx="4927960" cy="44727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028" tIns="53340" rIns="53340" bIns="5334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100" kern="1200" dirty="0" err="1" smtClean="0">
              <a:latin typeface="Century Gothic" panose="020B0502020202020204" pitchFamily="34" charset="0"/>
            </a:rPr>
            <a:t>Conclusion</a:t>
          </a:r>
          <a:endParaRPr lang="tr-TR" sz="2100" kern="1200" dirty="0" smtClean="0">
            <a:latin typeface="Century Gothic" panose="020B0502020202020204" pitchFamily="34" charset="0"/>
          </a:endParaRPr>
        </a:p>
      </dsp:txBody>
      <dsp:txXfrm>
        <a:off x="342530" y="3577468"/>
        <a:ext cx="4927960" cy="447279"/>
      </dsp:txXfrm>
    </dsp:sp>
    <dsp:sp modelId="{FB777A29-5F6F-4D25-8E90-F0A4B6992831}">
      <dsp:nvSpPr>
        <dsp:cNvPr id="0" name=""/>
        <dsp:cNvSpPr/>
      </dsp:nvSpPr>
      <dsp:spPr>
        <a:xfrm>
          <a:off x="62981" y="3521558"/>
          <a:ext cx="559098" cy="55909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00F77D-F230-4CB5-BDF7-883C12972BC1}">
      <dsp:nvSpPr>
        <dsp:cNvPr id="0" name=""/>
        <dsp:cNvSpPr/>
      </dsp:nvSpPr>
      <dsp:spPr>
        <a:xfrm>
          <a:off x="480425" y="0"/>
          <a:ext cx="6502400" cy="4064000"/>
        </a:xfrm>
        <a:prstGeom prst="swooshArrow">
          <a:avLst>
            <a:gd name="adj1" fmla="val 25000"/>
            <a:gd name="adj2" fmla="val 25000"/>
          </a:avLst>
        </a:prstGeom>
        <a:gradFill rotWithShape="0">
          <a:gsLst>
            <a:gs pos="0">
              <a:schemeClr val="accent1">
                <a:tint val="40000"/>
                <a:hueOff val="0"/>
                <a:satOff val="0"/>
                <a:lumOff val="0"/>
                <a:alphaOff val="0"/>
                <a:shade val="45000"/>
                <a:satMod val="155000"/>
              </a:schemeClr>
            </a:gs>
            <a:gs pos="60000">
              <a:schemeClr val="accent1">
                <a:tint val="40000"/>
                <a:hueOff val="0"/>
                <a:satOff val="0"/>
                <a:lumOff val="0"/>
                <a:alphaOff val="0"/>
                <a:shade val="95000"/>
                <a:satMod val="150000"/>
              </a:schemeClr>
            </a:gs>
            <a:gs pos="100000">
              <a:schemeClr val="accent1">
                <a:tint val="40000"/>
                <a:hueOff val="0"/>
                <a:satOff val="0"/>
                <a:lumOff val="0"/>
                <a:alphaOff val="0"/>
                <a:tint val="87000"/>
                <a:satMod val="250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02FD1FF7-7D71-4EB5-9CE7-CC8FC7A9E9CB}">
      <dsp:nvSpPr>
        <dsp:cNvPr id="0" name=""/>
        <dsp:cNvSpPr/>
      </dsp:nvSpPr>
      <dsp:spPr>
        <a:xfrm>
          <a:off x="1283016" y="2804972"/>
          <a:ext cx="169062" cy="16906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45000"/>
                <a:satMod val="155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shade val="95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87000"/>
                <a:satMod val="250000"/>
              </a:schemeClr>
            </a:gs>
          </a:gsLst>
          <a:lin ang="16200000" scaled="0"/>
        </a:gradFill>
        <a:ln>
          <a:noFill/>
        </a:ln>
        <a:effectLst>
          <a:outerShdw blurRad="65500" dist="38100" dir="5400000" rotWithShape="0">
            <a:srgbClr val="000000">
              <a:alpha val="4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342817C-692E-47FA-B6E7-76A39100A7E3}">
      <dsp:nvSpPr>
        <dsp:cNvPr id="0" name=""/>
        <dsp:cNvSpPr/>
      </dsp:nvSpPr>
      <dsp:spPr>
        <a:xfrm>
          <a:off x="1367548" y="2889504"/>
          <a:ext cx="1515059" cy="11744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583" tIns="0" rIns="0" bIns="0" numCol="1" spcCol="1270" anchor="t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6500" kern="1200" dirty="0" smtClean="0"/>
            <a:t> </a:t>
          </a:r>
        </a:p>
      </dsp:txBody>
      <dsp:txXfrm>
        <a:off x="1367548" y="2889504"/>
        <a:ext cx="1515059" cy="1174496"/>
      </dsp:txXfrm>
    </dsp:sp>
    <dsp:sp modelId="{A12A5C7B-BA4F-4853-85C9-0BA6874170BA}">
      <dsp:nvSpPr>
        <dsp:cNvPr id="0" name=""/>
        <dsp:cNvSpPr/>
      </dsp:nvSpPr>
      <dsp:spPr>
        <a:xfrm>
          <a:off x="2775317" y="1700377"/>
          <a:ext cx="305612" cy="30561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45000"/>
                <a:satMod val="155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shade val="95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87000"/>
                <a:satMod val="250000"/>
              </a:schemeClr>
            </a:gs>
          </a:gsLst>
          <a:lin ang="16200000" scaled="0"/>
        </a:gradFill>
        <a:ln>
          <a:noFill/>
        </a:ln>
        <a:effectLst>
          <a:outerShdw blurRad="65500" dist="38100" dir="5400000" rotWithShape="0">
            <a:srgbClr val="000000">
              <a:alpha val="4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7ABEC9E-AF0A-4D64-AF55-CFE65F3F417A}">
      <dsp:nvSpPr>
        <dsp:cNvPr id="0" name=""/>
        <dsp:cNvSpPr/>
      </dsp:nvSpPr>
      <dsp:spPr>
        <a:xfrm>
          <a:off x="2928124" y="1853183"/>
          <a:ext cx="1560576" cy="22108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1938" tIns="0" rIns="0" bIns="0" numCol="1" spcCol="1270" anchor="t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6500" kern="1200" dirty="0" smtClean="0"/>
            <a:t> </a:t>
          </a:r>
          <a:endParaRPr lang="en-US" sz="6500" kern="1200" dirty="0"/>
        </a:p>
      </dsp:txBody>
      <dsp:txXfrm>
        <a:off x="2928124" y="1853183"/>
        <a:ext cx="1560576" cy="2210816"/>
      </dsp:txXfrm>
    </dsp:sp>
    <dsp:sp modelId="{CAAE35E5-53DF-44F9-9FAE-4F94D01E9BC4}">
      <dsp:nvSpPr>
        <dsp:cNvPr id="0" name=""/>
        <dsp:cNvSpPr/>
      </dsp:nvSpPr>
      <dsp:spPr>
        <a:xfrm>
          <a:off x="4569980" y="1028191"/>
          <a:ext cx="422656" cy="42265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45000"/>
                <a:satMod val="155000"/>
              </a:schemeClr>
            </a:gs>
            <a:gs pos="60000">
              <a:schemeClr val="accent1">
                <a:hueOff val="0"/>
                <a:satOff val="0"/>
                <a:lumOff val="0"/>
                <a:alphaOff val="0"/>
                <a:shade val="95000"/>
                <a:satMod val="15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87000"/>
                <a:satMod val="250000"/>
              </a:schemeClr>
            </a:gs>
          </a:gsLst>
          <a:lin ang="16200000" scaled="0"/>
        </a:gradFill>
        <a:ln>
          <a:noFill/>
        </a:ln>
        <a:effectLst>
          <a:outerShdw blurRad="65500" dist="38100" dir="5400000" rotWithShape="0">
            <a:srgbClr val="000000">
              <a:alpha val="4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68DAE73-10C1-46F8-B0E0-C7B4E812D708}">
      <dsp:nvSpPr>
        <dsp:cNvPr id="0" name=""/>
        <dsp:cNvSpPr/>
      </dsp:nvSpPr>
      <dsp:spPr>
        <a:xfrm>
          <a:off x="4781308" y="1239519"/>
          <a:ext cx="1560576" cy="28244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3957" tIns="0" rIns="0" bIns="0" numCol="1" spcCol="1270" anchor="t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6500" kern="1200" dirty="0" smtClean="0"/>
            <a:t> </a:t>
          </a:r>
          <a:endParaRPr lang="en-US" sz="6500" kern="1200" dirty="0"/>
        </a:p>
      </dsp:txBody>
      <dsp:txXfrm>
        <a:off x="4781308" y="1239519"/>
        <a:ext cx="1560576" cy="28244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05655B-0F37-476F-8ED3-FE7BBFC34F69}">
      <dsp:nvSpPr>
        <dsp:cNvPr id="0" name=""/>
        <dsp:cNvSpPr/>
      </dsp:nvSpPr>
      <dsp:spPr>
        <a:xfrm>
          <a:off x="475" y="417702"/>
          <a:ext cx="2359609" cy="1232686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8000" b="-58000"/>
          </a:stretch>
        </a:blip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93CD4B-0DB4-41B5-B281-36AD64D6F1F2}">
      <dsp:nvSpPr>
        <dsp:cNvPr id="0" name=""/>
        <dsp:cNvSpPr/>
      </dsp:nvSpPr>
      <dsp:spPr>
        <a:xfrm>
          <a:off x="548528" y="1527120"/>
          <a:ext cx="1371364" cy="431440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900" kern="1200" dirty="0" smtClean="0"/>
            <a:t>Construction </a:t>
          </a:r>
          <a:r>
            <a:rPr lang="tr-TR" sz="900" kern="1200" dirty="0" err="1" smtClean="0"/>
            <a:t>Machinery</a:t>
          </a:r>
          <a:r>
            <a:rPr lang="tr-TR" sz="900" kern="1200" dirty="0" smtClean="0"/>
            <a:t> </a:t>
          </a:r>
          <a:r>
            <a:rPr lang="tr-TR" sz="900" kern="1200" dirty="0" err="1" smtClean="0"/>
            <a:t>Spare</a:t>
          </a:r>
          <a:r>
            <a:rPr lang="tr-TR" sz="900" kern="1200" dirty="0" smtClean="0"/>
            <a:t> </a:t>
          </a:r>
          <a:r>
            <a:rPr lang="tr-TR" sz="900" kern="1200" dirty="0" err="1" smtClean="0"/>
            <a:t>Parts</a:t>
          </a:r>
          <a:endParaRPr lang="en-US" sz="900" kern="1200" dirty="0"/>
        </a:p>
      </dsp:txBody>
      <dsp:txXfrm>
        <a:off x="548528" y="1527120"/>
        <a:ext cx="1371364" cy="431440"/>
      </dsp:txXfrm>
    </dsp:sp>
    <dsp:sp modelId="{BF7F5C49-73FA-450C-B12F-5B9FFAF9E92A}">
      <dsp:nvSpPr>
        <dsp:cNvPr id="0" name=""/>
        <dsp:cNvSpPr/>
      </dsp:nvSpPr>
      <dsp:spPr>
        <a:xfrm>
          <a:off x="2514170" y="417702"/>
          <a:ext cx="2237881" cy="1232686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0" b="-50000"/>
          </a:stretch>
        </a:blip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E16224-1999-4991-BA68-5EA73231AF5A}">
      <dsp:nvSpPr>
        <dsp:cNvPr id="0" name=""/>
        <dsp:cNvSpPr/>
      </dsp:nvSpPr>
      <dsp:spPr>
        <a:xfrm>
          <a:off x="3001359" y="1527120"/>
          <a:ext cx="1371364" cy="431440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425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900" kern="1200" dirty="0" smtClean="0"/>
            <a:t>Auto Truck </a:t>
          </a:r>
          <a:r>
            <a:rPr lang="tr-TR" sz="900" kern="1200" dirty="0" err="1" smtClean="0"/>
            <a:t>Spare</a:t>
          </a:r>
          <a:r>
            <a:rPr lang="tr-TR" sz="900" kern="1200" dirty="0" smtClean="0"/>
            <a:t> </a:t>
          </a:r>
          <a:r>
            <a:rPr lang="tr-TR" sz="900" kern="1200" dirty="0" err="1" smtClean="0"/>
            <a:t>Parts</a:t>
          </a:r>
          <a:endParaRPr lang="en-US" sz="900" kern="1200" dirty="0"/>
        </a:p>
      </dsp:txBody>
      <dsp:txXfrm>
        <a:off x="3001359" y="1527120"/>
        <a:ext cx="1371364" cy="4314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BendingPictureCaptionList">
  <dgm:title val=""/>
  <dgm:desc val=""/>
  <dgm:catLst>
    <dgm:cat type="picture" pri="9000"/>
    <dgm:cat type="pictureconvert" pri="9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w" fact="1.11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9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2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wedgeRectCallout1" styleLbl="node1">
          <dgm:varLst>
            <dgm:bulletEnabled val="1"/>
          </dgm:varLst>
          <dgm:alg type="tx"/>
          <dgm:choose name="Name7">
            <dgm:if name="Name8" func="var" arg="dir" op="equ" val="norm">
              <dgm:shape xmlns:r="http://schemas.openxmlformats.org/officeDocument/2006/relationships" type="wedgeRectCallout" r:blip="">
                <dgm:adjLst>
                  <dgm:adj idx="1" val="0.2025"/>
                  <dgm:adj idx="2" val="-0.607"/>
                </dgm:adjLst>
              </dgm:shape>
            </dgm:if>
            <dgm:else name="Name9">
              <dgm:shape xmlns:r="http://schemas.openxmlformats.org/officeDocument/2006/relationships" type="wedgeRectCallout" r:blip="">
                <dgm:adjLst>
                  <dgm:adj idx="1" val="-0.2025"/>
                  <dgm:adj idx="2" val="-0.607"/>
                </dgm:adjLst>
              </dgm:shape>
            </dgm:else>
          </dgm:choos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EE021F-E452-4327-B1F9-022323C5170F}" type="datetimeFigureOut">
              <a:rPr lang="en-US" smtClean="0"/>
              <a:t>7/14/2016</a:t>
            </a:fld>
            <a:endParaRPr lang="en-US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640C3F-4376-4D44-A665-3B9BD3F4F05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311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640C3F-4376-4D44-A665-3B9BD3F4F05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2073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Yuvarlatılmış Dikdörtgen 14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0" name="Yuvarlatılmış Dikdörtgen 9"/>
          <p:cNvSpPr/>
          <p:nvPr/>
        </p:nvSpPr>
        <p:spPr>
          <a:xfrm>
            <a:off x="418596" y="434162"/>
            <a:ext cx="8306809" cy="3108960"/>
          </a:xfrm>
          <a:prstGeom prst="roundRect">
            <a:avLst>
              <a:gd name="adj" fmla="val 4578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5" name="Başlık 4"/>
          <p:cNvSpPr>
            <a:spLocks noGrp="1"/>
          </p:cNvSpPr>
          <p:nvPr>
            <p:ph type="ctrTitle"/>
          </p:nvPr>
        </p:nvSpPr>
        <p:spPr>
          <a:xfrm>
            <a:off x="722376" y="1820206"/>
            <a:ext cx="7772400" cy="1828800"/>
          </a:xfrm>
        </p:spPr>
        <p:txBody>
          <a:bodyPr lIns="45720" rIns="45720" bIns="45720"/>
          <a:lstStyle>
            <a:lvl1pPr algn="r">
              <a:defRPr sz="4500" b="1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defRPr>
            </a:lvl1pPr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20" name="Alt Başlık 19"/>
          <p:cNvSpPr>
            <a:spLocks noGrp="1"/>
          </p:cNvSpPr>
          <p:nvPr>
            <p:ph type="subTitle" idx="1"/>
          </p:nvPr>
        </p:nvSpPr>
        <p:spPr>
          <a:xfrm>
            <a:off x="722376" y="3685032"/>
            <a:ext cx="7772400" cy="914400"/>
          </a:xfrm>
        </p:spPr>
        <p:txBody>
          <a:bodyPr lIns="182880" tIns="0"/>
          <a:lstStyle>
            <a:lvl1pPr marL="36576" indent="0" algn="r">
              <a:spcBef>
                <a:spcPts val="0"/>
              </a:spcBef>
              <a:buNone/>
              <a:defRPr sz="2000">
                <a:solidFill>
                  <a:schemeClr val="bg2">
                    <a:shade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tr-TR" smtClean="0"/>
              <a:t>Asıl alt başlık stilini düzenlemek için tıklatın</a:t>
            </a:r>
            <a:endParaRPr kumimoji="0" lang="en-US"/>
          </a:p>
        </p:txBody>
      </p:sp>
      <p:sp>
        <p:nvSpPr>
          <p:cNvPr id="19" name="Veri Yer Tutucusu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BD0EC7E3-51DE-40B8-8278-28EFD7B36683}" type="datetime1">
              <a:rPr lang="en-US" smtClean="0"/>
              <a:t>7/14/2016</a:t>
            </a:fld>
            <a:endParaRPr lang="en-US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11" name="Slayt Numarası Yer Tutucusu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/>
          <a:lstStyle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502920" y="530352"/>
            <a:ext cx="8183880" cy="4187952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BACBEC0-F12A-4E47-8309-CA983C57128A}" type="datetime1">
              <a:rPr lang="en-US" smtClean="0"/>
              <a:t>7/14/2016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533404"/>
            <a:ext cx="1981200" cy="5257799"/>
          </a:xfrm>
        </p:spPr>
        <p:txBody>
          <a:bodyPr vert="eaVert"/>
          <a:lstStyle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533400" y="533402"/>
            <a:ext cx="5943600" cy="525780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6A710361-A7B4-4774-BC8B-252461F66D4A}" type="datetime1">
              <a:rPr lang="en-US" smtClean="0"/>
              <a:t>7/14/2016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/>
          <a:lstStyle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502920" y="530352"/>
            <a:ext cx="8183880" cy="4187952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884370B2-DCDD-40EA-96DC-86D5B5D21A79}" type="datetime1">
              <a:rPr lang="en-US" smtClean="0"/>
              <a:t>7/14/2016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Yuvarlatılmış Dikdörtgen 13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Yuvarlatılmış Dikdörtgen 10"/>
          <p:cNvSpPr/>
          <p:nvPr/>
        </p:nvSpPr>
        <p:spPr>
          <a:xfrm>
            <a:off x="418596" y="434162"/>
            <a:ext cx="8306809" cy="4341329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68344" y="4928616"/>
            <a:ext cx="8183880" cy="676656"/>
          </a:xfrm>
        </p:spPr>
        <p:txBody>
          <a:bodyPr lIns="91440" bIns="0" anchor="b"/>
          <a:lstStyle>
            <a:lvl1pPr algn="l">
              <a:buNone/>
              <a:defRPr sz="3600" b="0" cap="none" baseline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68344" y="5624484"/>
            <a:ext cx="8183880" cy="420624"/>
          </a:xfrm>
        </p:spPr>
        <p:txBody>
          <a:bodyPr lIns="118872" tIns="0" anchor="t"/>
          <a:lstStyle>
            <a:lvl1pPr marL="0" marR="36576" indent="0" algn="l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>
                    <a:shade val="50000"/>
                    <a:satMod val="110000"/>
                  </a:schemeClr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BE54A10-FB11-4E4E-9E50-FCA063FDBAE8}" type="datetime1">
              <a:rPr lang="en-US" smtClean="0"/>
              <a:t>7/14/2016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514352" y="530352"/>
            <a:ext cx="393192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755360" y="530352"/>
            <a:ext cx="393192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CFA839F-D1C0-4127-8E01-37ED4F29A159}" type="datetime1">
              <a:rPr lang="en-US" smtClean="0"/>
              <a:t>7/14/2016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 anchor="b"/>
          <a:lstStyle>
            <a:lvl1pPr>
              <a:defRPr b="1"/>
            </a:lvl1pPr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607224" y="579438"/>
            <a:ext cx="3931920" cy="792162"/>
          </a:xfrm>
        </p:spPr>
        <p:txBody>
          <a:bodyPr lIns="146304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tr-TR" smtClean="0"/>
              <a:t>Asıl metin stillerini düzenlemek için tıklatın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3"/>
          </p:nvPr>
        </p:nvSpPr>
        <p:spPr>
          <a:xfrm>
            <a:off x="4652169" y="579438"/>
            <a:ext cx="3931920" cy="792162"/>
          </a:xfrm>
        </p:spPr>
        <p:txBody>
          <a:bodyPr lIns="137160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tr-TR" smtClean="0"/>
              <a:t>Asıl metin stillerini düzenlemek için tıklatın</a:t>
            </a:r>
          </a:p>
        </p:txBody>
      </p:sp>
      <p:sp>
        <p:nvSpPr>
          <p:cNvPr id="5" name="İçerik Yer Tutucusu 4"/>
          <p:cNvSpPr>
            <a:spLocks noGrp="1"/>
          </p:cNvSpPr>
          <p:nvPr>
            <p:ph sz="quarter" idx="2"/>
          </p:nvPr>
        </p:nvSpPr>
        <p:spPr>
          <a:xfrm>
            <a:off x="607224" y="1447800"/>
            <a:ext cx="393192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52169" y="1447800"/>
            <a:ext cx="393192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67F25BA-E760-431D-840A-94212E232858}" type="datetime1">
              <a:rPr lang="en-US" smtClean="0"/>
              <a:t>7/14/2016</a:t>
            </a:fld>
            <a:endParaRPr lang="en-US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D3E84B7-482B-4AF1-8A15-437FC8422BD3}" type="datetime1">
              <a:rPr lang="en-US" smtClean="0"/>
              <a:t>7/14/2016</a:t>
            </a:fld>
            <a:endParaRPr lang="en-US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Yuvarlatılmış Dikdörtgen 6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364116F-EB3B-4EF5-9F52-5DD95900B145}" type="datetime1">
              <a:rPr lang="en-US" smtClean="0"/>
              <a:t>7/14/2016</a:t>
            </a:fld>
            <a:endParaRPr lang="en-US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5538784" y="533400"/>
            <a:ext cx="2971800" cy="914400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2"/>
          </p:nvPr>
        </p:nvSpPr>
        <p:spPr>
          <a:xfrm>
            <a:off x="5538847" y="1447802"/>
            <a:ext cx="2971800" cy="4206112"/>
          </a:xfrm>
        </p:spPr>
        <p:txBody>
          <a:bodyPr lIns="91440"/>
          <a:lstStyle>
            <a:lvl1pPr marL="18288" marR="18288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 sz="1200">
                <a:solidFill>
                  <a:schemeClr val="tx1"/>
                </a:solidFill>
              </a:defRPr>
            </a:lvl2pPr>
            <a:lvl3pPr>
              <a:buNone/>
              <a:defRPr sz="10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4" name="İçerik Yer Tutucusu 3"/>
          <p:cNvSpPr>
            <a:spLocks noGrp="1"/>
          </p:cNvSpPr>
          <p:nvPr>
            <p:ph sz="half" idx="1"/>
          </p:nvPr>
        </p:nvSpPr>
        <p:spPr>
          <a:xfrm>
            <a:off x="761372" y="930144"/>
            <a:ext cx="4626159" cy="472440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buNone/>
              <a:defRPr/>
            </a:lvl6pPr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4A7D189-D8E4-42AE-B464-D39ED9E956E2}" type="datetime1">
              <a:rPr lang="en-US" smtClean="0"/>
              <a:t>7/14/2016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Yuvarlatılmış Dikdörtgen 14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Tek Köşesi Yuvarlatılmış Dikdörtgen 10"/>
          <p:cNvSpPr/>
          <p:nvPr/>
        </p:nvSpPr>
        <p:spPr>
          <a:xfrm>
            <a:off x="6400800" y="434162"/>
            <a:ext cx="2324605" cy="4343400"/>
          </a:xfrm>
          <a:prstGeom prst="round1Rect">
            <a:avLst>
              <a:gd name="adj" fmla="val 2748"/>
            </a:avLst>
          </a:prstGeom>
          <a:solidFill>
            <a:srgbClr val="1C1C1C"/>
          </a:soli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5012056"/>
            <a:ext cx="8229600" cy="1051560"/>
          </a:xfrm>
        </p:spPr>
        <p:txBody>
          <a:bodyPr anchor="t"/>
          <a:lstStyle>
            <a:lvl1pPr algn="l">
              <a:buNone/>
              <a:defRPr sz="3600" b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 bwMode="grayWhite">
          <a:xfrm>
            <a:off x="6462712" y="533400"/>
            <a:ext cx="2240280" cy="4211480"/>
          </a:xfrm>
        </p:spPr>
        <p:txBody>
          <a:bodyPr lIns="91440"/>
          <a:lstStyle>
            <a:lvl1pPr marL="45720" indent="0" algn="l">
              <a:spcBef>
                <a:spcPts val="0"/>
              </a:spcBef>
              <a:buNone/>
              <a:defRPr sz="1400">
                <a:solidFill>
                  <a:srgbClr val="FFFFFF"/>
                </a:solidFill>
              </a:defRPr>
            </a:lvl1pPr>
            <a:lvl2pPr>
              <a:defRPr sz="1200">
                <a:solidFill>
                  <a:srgbClr val="FFFFFF"/>
                </a:solidFill>
              </a:defRPr>
            </a:lvl2pPr>
            <a:lvl3pPr>
              <a:defRPr sz="1000">
                <a:solidFill>
                  <a:srgbClr val="FFFFFF"/>
                </a:solidFill>
              </a:defRPr>
            </a:lvl3pPr>
            <a:lvl4pPr>
              <a:defRPr sz="900">
                <a:solidFill>
                  <a:srgbClr val="FFFFFF"/>
                </a:solidFill>
              </a:defRPr>
            </a:lvl4pPr>
            <a:lvl5pPr>
              <a:defRPr sz="900">
                <a:solidFill>
                  <a:srgbClr val="FFFFFF"/>
                </a:solidFill>
              </a:defRPr>
            </a:lvl5pPr>
            <a:extLst/>
          </a:lstStyle>
          <a:p>
            <a:pPr lvl="0" eaLnBrk="1" latinLnBrk="0" hangingPunct="1"/>
            <a:r>
              <a:rPr lang="tr-TR" smtClean="0"/>
              <a:t>Asıl metin stillerini düzenlemek için tıklatın</a:t>
            </a:r>
          </a:p>
          <a:p>
            <a:pPr lvl="1" eaLnBrk="1" latinLnBrk="0" hangingPunct="1"/>
            <a:r>
              <a:rPr lang="tr-TR" smtClean="0"/>
              <a:t>İkinci düzey</a:t>
            </a:r>
          </a:p>
          <a:p>
            <a:pPr lvl="2" eaLnBrk="1" latinLnBrk="0" hangingPunct="1"/>
            <a:r>
              <a:rPr lang="tr-TR" smtClean="0"/>
              <a:t>Üçüncü düzey</a:t>
            </a:r>
          </a:p>
          <a:p>
            <a:pPr lvl="3" eaLnBrk="1" latinLnBrk="0" hangingPunct="1"/>
            <a:r>
              <a:rPr lang="tr-TR" smtClean="0"/>
              <a:t>Dördüncü düzey</a:t>
            </a:r>
          </a:p>
          <a:p>
            <a:pPr lvl="4" eaLnBrk="1" latinLnBrk="0" hangingPunct="1"/>
            <a:r>
              <a:rPr lang="tr-TR" smtClean="0"/>
              <a:t>Beşinci düzey</a:t>
            </a:r>
            <a:endParaRPr kumimoji="0" lang="en-US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117CD0B4-80FE-4BD4-9FBD-E183733020FB}" type="datetime1">
              <a:rPr lang="en-US" smtClean="0"/>
              <a:t>7/14/2016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421480" y="435768"/>
            <a:ext cx="5925312" cy="4343400"/>
          </a:xfrm>
          <a:prstGeom prst="snipRoundRect">
            <a:avLst>
              <a:gd name="adj1" fmla="val 1040"/>
              <a:gd name="adj2" fmla="val 0"/>
            </a:avLst>
          </a:prstGeom>
          <a:solidFill>
            <a:schemeClr val="bg2">
              <a:shade val="1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tr-TR" smtClean="0"/>
              <a:t>Resim eklemek için simgeyi tıklatın</a:t>
            </a:r>
            <a:endParaRPr kumimoji="0"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Yuvarlatılmış Dikdörtgen 6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Yuvarlatılmış Dikdörtgen 8"/>
          <p:cNvSpPr/>
          <p:nvPr/>
        </p:nvSpPr>
        <p:spPr>
          <a:xfrm>
            <a:off x="418596" y="434162"/>
            <a:ext cx="8306809" cy="5486400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3" name="Başlık Yer Tutucusu 12"/>
          <p:cNvSpPr>
            <a:spLocks noGrp="1"/>
          </p:cNvSpPr>
          <p:nvPr>
            <p:ph type="title"/>
          </p:nvPr>
        </p:nvSpPr>
        <p:spPr>
          <a:xfrm>
            <a:off x="502920" y="4985590"/>
            <a:ext cx="8183880" cy="105156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kumimoji="0" lang="tr-TR" smtClean="0"/>
              <a:t>Asıl başlık stili için tıklatın</a:t>
            </a:r>
            <a:endParaRPr kumimoji="0" lang="en-US"/>
          </a:p>
        </p:txBody>
      </p:sp>
      <p:sp>
        <p:nvSpPr>
          <p:cNvPr id="4" name="Metin Yer Tutucusu 3"/>
          <p:cNvSpPr>
            <a:spLocks noGrp="1"/>
          </p:cNvSpPr>
          <p:nvPr>
            <p:ph type="body" idx="1"/>
          </p:nvPr>
        </p:nvSpPr>
        <p:spPr>
          <a:xfrm>
            <a:off x="502920" y="530352"/>
            <a:ext cx="8183880" cy="4187952"/>
          </a:xfrm>
          <a:prstGeom prst="rect">
            <a:avLst/>
          </a:prstGeom>
        </p:spPr>
        <p:txBody>
          <a:bodyPr vert="horz" lIns="182880" tIns="91440">
            <a:normAutofit/>
          </a:bodyPr>
          <a:lstStyle>
            <a:extLst/>
          </a:lstStyle>
          <a:p>
            <a:pPr lvl="0" eaLnBrk="1" latinLnBrk="0" hangingPunct="1"/>
            <a:r>
              <a:rPr kumimoji="0" lang="tr-TR" smtClean="0"/>
              <a:t>Asıl metin stillerini düzenlemek için tıklatın</a:t>
            </a:r>
          </a:p>
          <a:p>
            <a:pPr lvl="1" eaLnBrk="1" latinLnBrk="0" hangingPunct="1"/>
            <a:r>
              <a:rPr kumimoji="0" lang="tr-TR" smtClean="0"/>
              <a:t>İkinci düzey</a:t>
            </a:r>
          </a:p>
          <a:p>
            <a:pPr lvl="2" eaLnBrk="1" latinLnBrk="0" hangingPunct="1"/>
            <a:r>
              <a:rPr kumimoji="0" lang="tr-TR" smtClean="0"/>
              <a:t>Üçüncü düzey</a:t>
            </a:r>
          </a:p>
          <a:p>
            <a:pPr lvl="3" eaLnBrk="1" latinLnBrk="0" hangingPunct="1"/>
            <a:r>
              <a:rPr kumimoji="0" lang="tr-TR" smtClean="0"/>
              <a:t>Dördüncü düzey</a:t>
            </a:r>
          </a:p>
          <a:p>
            <a:pPr lvl="4" eaLnBrk="1" latinLnBrk="0" hangingPunct="1"/>
            <a:r>
              <a:rPr kumimoji="0" lang="tr-TR" smtClean="0"/>
              <a:t>Beşinci düzey</a:t>
            </a:r>
            <a:endParaRPr kumimoji="0" lang="en-US"/>
          </a:p>
        </p:txBody>
      </p:sp>
      <p:sp>
        <p:nvSpPr>
          <p:cNvPr id="25" name="Veri Yer Tutucusu 24"/>
          <p:cNvSpPr>
            <a:spLocks noGrp="1"/>
          </p:cNvSpPr>
          <p:nvPr>
            <p:ph type="dt" sz="half" idx="2"/>
          </p:nvPr>
        </p:nvSpPr>
        <p:spPr>
          <a:xfrm>
            <a:off x="3776328" y="6111875"/>
            <a:ext cx="22860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57F3D0C7-6B35-4519-9A94-B444E0499CFB}" type="datetime1">
              <a:rPr lang="en-US" smtClean="0"/>
              <a:t>7/14/2016</a:t>
            </a:fld>
            <a:endParaRPr lang="en-US"/>
          </a:p>
        </p:txBody>
      </p:sp>
      <p:sp>
        <p:nvSpPr>
          <p:cNvPr id="18" name="Altbilgi Yer Tutucusu 17"/>
          <p:cNvSpPr>
            <a:spLocks noGrp="1"/>
          </p:cNvSpPr>
          <p:nvPr>
            <p:ph type="ftr" sz="quarter" idx="3"/>
          </p:nvPr>
        </p:nvSpPr>
        <p:spPr>
          <a:xfrm>
            <a:off x="6062328" y="6111875"/>
            <a:ext cx="22860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4"/>
          </p:nvPr>
        </p:nvSpPr>
        <p:spPr>
          <a:xfrm>
            <a:off x="8348328" y="6111875"/>
            <a:ext cx="4572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814DF790-11F8-4285-A28E-033F9B7E2087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l" rtl="0" eaLnBrk="1" latinLnBrk="0" hangingPunct="1">
        <a:spcBef>
          <a:spcPct val="0"/>
        </a:spcBef>
        <a:buNone/>
        <a:defRPr kumimoji="0" sz="3600" b="1" kern="1200">
          <a:solidFill>
            <a:schemeClr val="accent1">
              <a:tint val="88000"/>
              <a:satMod val="150000"/>
            </a:schemeClr>
          </a:solidFill>
          <a:effectLst>
            <a:outerShdw blurRad="53975" dist="22860" dir="5400000" algn="tl" rotWithShape="0">
              <a:srgbClr val="000000">
                <a:alpha val="5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265176" indent="-265176" algn="l" rtl="0" eaLnBrk="1" latinLnBrk="0" hangingPunct="1">
        <a:spcBef>
          <a:spcPts val="250"/>
        </a:spcBef>
        <a:buClr>
          <a:schemeClr val="accent1"/>
        </a:buClr>
        <a:buSzPct val="80000"/>
        <a:buFont typeface="Wingdings 2"/>
        <a:buChar char=""/>
        <a:defRPr kumimoji="0" sz="2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548640" indent="-201168" algn="l" rtl="0" eaLnBrk="1" latinLnBrk="0" hangingPunct="1">
        <a:spcBef>
          <a:spcPts val="250"/>
        </a:spcBef>
        <a:buClr>
          <a:schemeClr val="accent1"/>
        </a:buClr>
        <a:buSzPct val="100000"/>
        <a:buFont typeface="Verdana"/>
        <a:buChar char="◦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86384" indent="-182880" algn="l" rtl="0" eaLnBrk="1" latinLnBrk="0" hangingPunct="1">
        <a:spcBef>
          <a:spcPts val="250"/>
        </a:spcBef>
        <a:buClr>
          <a:schemeClr val="accent2">
            <a:tint val="85000"/>
            <a:satMod val="285000"/>
          </a:schemeClr>
        </a:buClr>
        <a:buSzPct val="100000"/>
        <a:buFont typeface="Wingdings 2"/>
        <a:buChar char="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24128" indent="-182880" algn="l" rtl="0" eaLnBrk="1" latinLnBrk="0" hangingPunct="1">
        <a:spcBef>
          <a:spcPts val="230"/>
        </a:spcBef>
        <a:buClr>
          <a:schemeClr val="accent2">
            <a:tint val="85000"/>
            <a:satMod val="285000"/>
          </a:schemeClr>
        </a:buClr>
        <a:buSzPct val="112000"/>
        <a:buFont typeface="Verdana"/>
        <a:buChar char="◦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90472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7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0784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spcBef>
          <a:spcPts val="257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5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148840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Relationship Id="rId9" Type="http://schemas.openxmlformats.org/officeDocument/2006/relationships/image" Target="../media/image5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Relationship Id="rId9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2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jpeg"/><Relationship Id="rId3" Type="http://schemas.openxmlformats.org/officeDocument/2006/relationships/image" Target="../media/image17.jpe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jpe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Relationship Id="rId1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8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openxmlformats.org/officeDocument/2006/relationships/image" Target="../media/image36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35.jpe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tr-TR" sz="3600" dirty="0" err="1" smtClean="0">
                <a:latin typeface="Century Gothic" panose="020B0502020202020204" pitchFamily="34" charset="0"/>
              </a:rPr>
              <a:t>Forcemac</a:t>
            </a:r>
            <a:r>
              <a:rPr lang="tr-TR" sz="3600" dirty="0" smtClean="0">
                <a:latin typeface="Century Gothic" panose="020B0502020202020204" pitchFamily="34" charset="0"/>
              </a:rPr>
              <a:t> Hong Kong Limited</a:t>
            </a:r>
            <a:endParaRPr lang="en-US" sz="3600" dirty="0">
              <a:latin typeface="Century Gothic" panose="020B0502020202020204" pitchFamily="34" charset="0"/>
            </a:endParaRP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tr-TR" b="1" dirty="0" err="1" smtClean="0">
                <a:latin typeface="Century Gothic" panose="020B0502020202020204" pitchFamily="34" charset="0"/>
              </a:rPr>
              <a:t>Introduction</a:t>
            </a:r>
            <a:r>
              <a:rPr lang="tr-TR" b="1" dirty="0" smtClean="0">
                <a:latin typeface="Century Gothic" panose="020B0502020202020204" pitchFamily="34" charset="0"/>
              </a:rPr>
              <a:t> </a:t>
            </a:r>
            <a:r>
              <a:rPr lang="tr-TR" b="1" dirty="0" err="1" smtClean="0">
                <a:latin typeface="Century Gothic" panose="020B0502020202020204" pitchFamily="34" charset="0"/>
              </a:rPr>
              <a:t>to</a:t>
            </a:r>
            <a:r>
              <a:rPr lang="tr-TR" b="1" dirty="0" smtClean="0">
                <a:latin typeface="Century Gothic" panose="020B0502020202020204" pitchFamily="34" charset="0"/>
              </a:rPr>
              <a:t> </a:t>
            </a:r>
            <a:r>
              <a:rPr lang="tr-TR" b="1" dirty="0" err="1" smtClean="0">
                <a:latin typeface="Century Gothic" panose="020B0502020202020204" pitchFamily="34" charset="0"/>
              </a:rPr>
              <a:t>the</a:t>
            </a:r>
            <a:r>
              <a:rPr lang="tr-TR" b="1" dirty="0" smtClean="0">
                <a:latin typeface="Century Gothic" panose="020B0502020202020204" pitchFamily="34" charset="0"/>
              </a:rPr>
              <a:t> </a:t>
            </a:r>
            <a:r>
              <a:rPr lang="tr-TR" b="1" dirty="0" err="1" smtClean="0">
                <a:latin typeface="Century Gothic" panose="020B0502020202020204" pitchFamily="34" charset="0"/>
              </a:rPr>
              <a:t>Company</a:t>
            </a:r>
            <a:endParaRPr lang="en-US" b="1" dirty="0">
              <a:latin typeface="Century Gothic" panose="020B0502020202020204" pitchFamily="34" charset="0"/>
            </a:endParaRPr>
          </a:p>
        </p:txBody>
      </p:sp>
      <p:pic>
        <p:nvPicPr>
          <p:cNvPr id="1026" name="Picture 2" descr="C:\Users\Berkin\Desktop\Forcemac\Forcemac 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908720"/>
            <a:ext cx="4565644" cy="158417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745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543" y="188640"/>
            <a:ext cx="8183880" cy="720080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Century Gothic" panose="020B0502020202020204" pitchFamily="34" charset="0"/>
              </a:rPr>
              <a:t>Our Advantages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10</a:t>
            </a:fld>
            <a:endParaRPr lang="en-US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652914" y="3940730"/>
            <a:ext cx="1374201" cy="185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836726" y="3994714"/>
            <a:ext cx="1334996" cy="18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ounded Rectangle 5"/>
          <p:cNvSpPr/>
          <p:nvPr/>
        </p:nvSpPr>
        <p:spPr>
          <a:xfrm>
            <a:off x="526562" y="1197530"/>
            <a:ext cx="3868615" cy="2209800"/>
          </a:xfrm>
          <a:prstGeom prst="roundRect">
            <a:avLst>
              <a:gd name="adj" fmla="val 8544"/>
            </a:avLst>
          </a:prstGeom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smtClean="0">
              <a:ln>
                <a:noFill/>
              </a:ln>
              <a:solidFill>
                <a:sysClr val="windowText" lastClr="000000">
                  <a:lumMod val="50000"/>
                  <a:lumOff val="50000"/>
                </a:sysClr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10" name="Round Diagonal Corner Rectangle 6"/>
          <p:cNvSpPr/>
          <p:nvPr/>
        </p:nvSpPr>
        <p:spPr>
          <a:xfrm>
            <a:off x="522087" y="1052736"/>
            <a:ext cx="2016369" cy="33211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wrap="square" lIns="18000" tIns="18000" rIns="18000" bIns="18000" rtlCol="0"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200" b="1" kern="0" dirty="0" smtClean="0">
                <a:solidFill>
                  <a:sysClr val="window" lastClr="FFFFFF"/>
                </a:solidFill>
                <a:latin typeface="Century Gothic" pitchFamily="34" charset="0"/>
              </a:rPr>
              <a:t>Global </a:t>
            </a:r>
            <a:r>
              <a:rPr lang="tr-TR" sz="1200" b="1" kern="0" dirty="0" err="1" smtClean="0">
                <a:solidFill>
                  <a:sysClr val="window" lastClr="FFFFFF"/>
                </a:solidFill>
                <a:latin typeface="Century Gothic" pitchFamily="34" charset="0"/>
              </a:rPr>
              <a:t>Company</a:t>
            </a:r>
            <a:endParaRPr lang="en-US" sz="1200" b="1" kern="0" dirty="0">
              <a:solidFill>
                <a:sysClr val="window" lastClr="FFFFFF"/>
              </a:solidFill>
              <a:latin typeface="Century Gothic" pitchFamily="34" charset="0"/>
            </a:endParaRPr>
          </a:p>
        </p:txBody>
      </p:sp>
      <p:sp>
        <p:nvSpPr>
          <p:cNvPr id="11" name="TextBox 7"/>
          <p:cNvSpPr txBox="1"/>
          <p:nvPr/>
        </p:nvSpPr>
        <p:spPr>
          <a:xfrm>
            <a:off x="1883851" y="1493589"/>
            <a:ext cx="2504488" cy="173991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lang="tr-TR" sz="1100" kern="0" dirty="0" smtClean="0">
                <a:latin typeface="Century Gothic" pitchFamily="34" charset="0"/>
              </a:rPr>
              <a:t>International Service </a:t>
            </a:r>
            <a:r>
              <a:rPr lang="tr-TR" sz="1100" kern="0" dirty="0" err="1" smtClean="0">
                <a:latin typeface="Century Gothic" pitchFamily="34" charset="0"/>
              </a:rPr>
              <a:t>Standard</a:t>
            </a:r>
            <a:endParaRPr lang="en-US" sz="1100" kern="0" dirty="0" smtClean="0">
              <a:latin typeface="Century Gothic" pitchFamily="34" charset="0"/>
            </a:endParaRPr>
          </a:p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lang="tr-TR" sz="1100" kern="0" dirty="0" smtClean="0">
                <a:latin typeface="Century Gothic" pitchFamily="34" charset="0"/>
              </a:rPr>
              <a:t>International Cooperate Background</a:t>
            </a:r>
            <a:endParaRPr lang="en-US" sz="1100" kern="0" dirty="0" smtClean="0">
              <a:latin typeface="Century Gothic" pitchFamily="34" charset="0"/>
            </a:endParaRPr>
          </a:p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1100" b="0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  <a:latin typeface="Century Gothic" pitchFamily="34" charset="0"/>
              </a:rPr>
              <a:t>Foreign Management Team </a:t>
            </a:r>
            <a:r>
              <a:rPr kumimoji="0" lang="en-US" sz="1100" i="0" u="sng" strike="noStrike" kern="0" cap="none" spc="0" normalizeH="0" baseline="0" dirty="0" smtClean="0">
                <a:ln>
                  <a:noFill/>
                </a:ln>
                <a:effectLst/>
                <a:uLnTx/>
                <a:uFillTx/>
                <a:latin typeface="Century Gothic" pitchFamily="34" charset="0"/>
              </a:rPr>
              <a:t>with better understanding</a:t>
            </a:r>
            <a:r>
              <a:rPr kumimoji="0" lang="en-US" sz="1100" i="0" u="sng" strike="noStrike" kern="0" cap="none" spc="0" normalizeH="0" dirty="0" smtClean="0">
                <a:ln>
                  <a:noFill/>
                </a:ln>
                <a:effectLst/>
                <a:uLnTx/>
                <a:uFillTx/>
                <a:latin typeface="Century Gothic" pitchFamily="34" charset="0"/>
              </a:rPr>
              <a:t> of customer needs.</a:t>
            </a:r>
            <a:endParaRPr kumimoji="0" lang="en-US" sz="1100" i="0" u="sng" strike="noStrike" kern="0" cap="none" spc="0" normalizeH="0" baseline="0" dirty="0">
              <a:ln>
                <a:noFill/>
              </a:ln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12" name="Rounded Rectangle 8"/>
          <p:cNvSpPr/>
          <p:nvPr/>
        </p:nvSpPr>
        <p:spPr>
          <a:xfrm>
            <a:off x="531037" y="3677210"/>
            <a:ext cx="3868615" cy="2210400"/>
          </a:xfrm>
          <a:prstGeom prst="roundRect">
            <a:avLst>
              <a:gd name="adj" fmla="val 8544"/>
            </a:avLst>
          </a:prstGeom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smtClean="0">
              <a:ln>
                <a:noFill/>
              </a:ln>
              <a:solidFill>
                <a:sysClr val="windowText" lastClr="000000">
                  <a:lumMod val="50000"/>
                  <a:lumOff val="50000"/>
                </a:sysClr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13" name="Round Diagonal Corner Rectangle 9"/>
          <p:cNvSpPr/>
          <p:nvPr/>
        </p:nvSpPr>
        <p:spPr>
          <a:xfrm>
            <a:off x="526562" y="3532416"/>
            <a:ext cx="2016369" cy="33211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wrap="square" lIns="18000" tIns="18000" rIns="18000" bIns="18000" rtlCol="0"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200" b="1" kern="0" dirty="0" err="1" smtClean="0">
                <a:solidFill>
                  <a:sysClr val="window" lastClr="FFFFFF"/>
                </a:solidFill>
                <a:latin typeface="Century Gothic" pitchFamily="34" charset="0"/>
              </a:rPr>
              <a:t>Extensive</a:t>
            </a:r>
            <a:r>
              <a:rPr lang="tr-TR" sz="1200" b="1" kern="0" dirty="0" smtClean="0">
                <a:solidFill>
                  <a:sysClr val="window" lastClr="FFFFFF"/>
                </a:solidFill>
                <a:latin typeface="Century Gothic" pitchFamily="34" charset="0"/>
              </a:rPr>
              <a:t> </a:t>
            </a:r>
            <a:r>
              <a:rPr lang="en-US" sz="1200" b="1" kern="0" dirty="0" smtClean="0">
                <a:solidFill>
                  <a:sysClr val="window" lastClr="FFFFFF"/>
                </a:solidFill>
                <a:latin typeface="Century Gothic" pitchFamily="34" charset="0"/>
              </a:rPr>
              <a:t>Communication</a:t>
            </a:r>
            <a:endParaRPr lang="en-US" sz="1200" b="1" kern="0" dirty="0">
              <a:solidFill>
                <a:sysClr val="window" lastClr="FFFFFF"/>
              </a:solidFill>
              <a:latin typeface="Century Gothic" pitchFamily="34" charset="0"/>
            </a:endParaRPr>
          </a:p>
        </p:txBody>
      </p:sp>
      <p:sp>
        <p:nvSpPr>
          <p:cNvPr id="14" name="TextBox 10"/>
          <p:cNvSpPr txBox="1"/>
          <p:nvPr/>
        </p:nvSpPr>
        <p:spPr>
          <a:xfrm>
            <a:off x="2027115" y="3977244"/>
            <a:ext cx="2333302" cy="173991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lang="en-US" sz="1100" kern="0" dirty="0">
                <a:latin typeface="Century Gothic" pitchFamily="34" charset="0"/>
              </a:rPr>
              <a:t>Communication </a:t>
            </a:r>
            <a:r>
              <a:rPr lang="en-US" sz="1100" kern="0" dirty="0" smtClean="0">
                <a:latin typeface="Century Gothic" pitchFamily="34" charset="0"/>
              </a:rPr>
              <a:t>Skills</a:t>
            </a:r>
            <a:r>
              <a:rPr lang="tr-TR" sz="1100" kern="0" dirty="0" smtClean="0">
                <a:latin typeface="Century Gothic" pitchFamily="34" charset="0"/>
              </a:rPr>
              <a:t>;</a:t>
            </a:r>
            <a:r>
              <a:rPr lang="en-US" sz="1100" kern="0" dirty="0" smtClean="0">
                <a:latin typeface="Century Gothic" pitchFamily="34" charset="0"/>
              </a:rPr>
              <a:t> </a:t>
            </a:r>
            <a:r>
              <a:rPr lang="en-US" sz="1100" kern="0" dirty="0">
                <a:latin typeface="Century Gothic" pitchFamily="34" charset="0"/>
              </a:rPr>
              <a:t>Chinese, Cantonese, Turkish, English, Russian even French</a:t>
            </a:r>
          </a:p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lang="en-US" sz="1100" kern="0" dirty="0">
                <a:latin typeface="Century Gothic" pitchFamily="34" charset="0"/>
              </a:rPr>
              <a:t>Understanding local market includes </a:t>
            </a:r>
            <a:r>
              <a:rPr lang="en-US" sz="1100" kern="0" dirty="0" err="1">
                <a:latin typeface="Century Gothic" pitchFamily="34" charset="0"/>
              </a:rPr>
              <a:t>S.Korea</a:t>
            </a:r>
            <a:r>
              <a:rPr lang="en-US" sz="1100" kern="0" dirty="0">
                <a:latin typeface="Century Gothic" pitchFamily="34" charset="0"/>
              </a:rPr>
              <a:t>, Taiwan, China, HK and create customer friendly solutions.</a:t>
            </a:r>
          </a:p>
        </p:txBody>
      </p:sp>
      <p:sp>
        <p:nvSpPr>
          <p:cNvPr id="15" name="Rounded Rectangle 11"/>
          <p:cNvSpPr/>
          <p:nvPr/>
        </p:nvSpPr>
        <p:spPr>
          <a:xfrm>
            <a:off x="4640787" y="1208315"/>
            <a:ext cx="3868615" cy="2209800"/>
          </a:xfrm>
          <a:prstGeom prst="roundRect">
            <a:avLst>
              <a:gd name="adj" fmla="val 8544"/>
            </a:avLst>
          </a:prstGeom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smtClean="0">
              <a:ln>
                <a:noFill/>
              </a:ln>
              <a:solidFill>
                <a:sysClr val="windowText" lastClr="000000">
                  <a:lumMod val="50000"/>
                  <a:lumOff val="50000"/>
                </a:sysClr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16" name="Round Diagonal Corner Rectangle 12"/>
          <p:cNvSpPr/>
          <p:nvPr/>
        </p:nvSpPr>
        <p:spPr>
          <a:xfrm>
            <a:off x="4636312" y="1052736"/>
            <a:ext cx="2016369" cy="33211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wrap="square" lIns="18000" tIns="18000" rIns="18000" bIns="18000" rtlCol="0"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1200" b="1" kern="0" dirty="0" err="1" smtClean="0">
                <a:solidFill>
                  <a:sysClr val="window" lastClr="FFFFFF"/>
                </a:solidFill>
                <a:latin typeface="Century Gothic" pitchFamily="34" charset="0"/>
              </a:rPr>
              <a:t>Customer</a:t>
            </a:r>
            <a:r>
              <a:rPr lang="tr-TR" sz="1200" b="1" kern="0" dirty="0" smtClean="0">
                <a:solidFill>
                  <a:sysClr val="window" lastClr="FFFFFF"/>
                </a:solidFill>
                <a:latin typeface="Century Gothic" pitchFamily="34" charset="0"/>
              </a:rPr>
              <a:t> </a:t>
            </a:r>
            <a:r>
              <a:rPr lang="tr-TR" sz="1200" b="1" kern="0" dirty="0" err="1" smtClean="0">
                <a:solidFill>
                  <a:sysClr val="window" lastClr="FFFFFF"/>
                </a:solidFill>
                <a:latin typeface="Century Gothic" pitchFamily="34" charset="0"/>
              </a:rPr>
              <a:t>Care</a:t>
            </a:r>
            <a:endParaRPr lang="en-US" sz="1200" b="1" kern="0" dirty="0">
              <a:solidFill>
                <a:sysClr val="window" lastClr="FFFFFF"/>
              </a:solidFill>
              <a:latin typeface="Century Gothic" pitchFamily="34" charset="0"/>
            </a:endParaRPr>
          </a:p>
        </p:txBody>
      </p:sp>
      <p:sp>
        <p:nvSpPr>
          <p:cNvPr id="17" name="TextBox 13"/>
          <p:cNvSpPr txBox="1"/>
          <p:nvPr/>
        </p:nvSpPr>
        <p:spPr>
          <a:xfrm>
            <a:off x="6112377" y="1493589"/>
            <a:ext cx="2504488" cy="173991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lang="en-US" sz="1100" kern="0" dirty="0">
                <a:latin typeface="Century Gothic" pitchFamily="34" charset="0"/>
              </a:rPr>
              <a:t>Cost &amp; time efficiency in local trade. Samples, factory visit, order follow up, organizing </a:t>
            </a:r>
            <a:r>
              <a:rPr lang="en-US" sz="1100" kern="0" dirty="0" smtClean="0">
                <a:latin typeface="Century Gothic" pitchFamily="34" charset="0"/>
              </a:rPr>
              <a:t>shipments</a:t>
            </a:r>
            <a:endParaRPr lang="en-US" sz="1100" kern="0" dirty="0">
              <a:latin typeface="Century Gothic" pitchFamily="34" charset="0"/>
            </a:endParaRPr>
          </a:p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lang="en-US" sz="1100" kern="0" dirty="0">
                <a:latin typeface="Century Gothic" pitchFamily="34" charset="0"/>
              </a:rPr>
              <a:t>Inspections &amp; feedbacks</a:t>
            </a:r>
            <a:endParaRPr kumimoji="0" lang="en-US" sz="1100" b="0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19" name="Rounded Rectangle 15"/>
          <p:cNvSpPr/>
          <p:nvPr/>
        </p:nvSpPr>
        <p:spPr>
          <a:xfrm>
            <a:off x="4680274" y="3680402"/>
            <a:ext cx="3868615" cy="2210400"/>
          </a:xfrm>
          <a:prstGeom prst="roundRect">
            <a:avLst>
              <a:gd name="adj" fmla="val 8544"/>
            </a:avLst>
          </a:prstGeom>
          <a:ln>
            <a:solidFill>
              <a:sysClr val="window" lastClr="FFFFFF">
                <a:lumMod val="65000"/>
              </a:sysClr>
            </a:solidFill>
            <a:prstDash val="dash"/>
          </a:ln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smtClean="0">
              <a:ln>
                <a:noFill/>
              </a:ln>
              <a:solidFill>
                <a:sysClr val="windowText" lastClr="000000">
                  <a:lumMod val="50000"/>
                  <a:lumOff val="50000"/>
                </a:sysClr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20" name="Round Diagonal Corner Rectangle 16"/>
          <p:cNvSpPr/>
          <p:nvPr/>
        </p:nvSpPr>
        <p:spPr>
          <a:xfrm>
            <a:off x="4675799" y="3532416"/>
            <a:ext cx="2016369" cy="332115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1"/>
          </a:solidFill>
          <a:ln>
            <a:noFill/>
          </a:ln>
        </p:spPr>
        <p:txBody>
          <a:bodyPr wrap="square" lIns="18000" tIns="18000" rIns="18000" bIns="18000" rtlCol="0" anchor="ctr"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smtClean="0">
                <a:solidFill>
                  <a:sysClr val="window" lastClr="FFFFFF"/>
                </a:solidFill>
                <a:latin typeface="Century Gothic" pitchFamily="34" charset="0"/>
              </a:rPr>
              <a:t>Feedback</a:t>
            </a:r>
            <a:endParaRPr lang="en-US" sz="1200" b="1" kern="0">
              <a:solidFill>
                <a:sysClr val="window" lastClr="FFFFFF"/>
              </a:solidFill>
              <a:latin typeface="Century Gothic" pitchFamily="34" charset="0"/>
            </a:endParaRPr>
          </a:p>
        </p:txBody>
      </p:sp>
      <p:sp>
        <p:nvSpPr>
          <p:cNvPr id="21" name="TextBox 17"/>
          <p:cNvSpPr txBox="1"/>
          <p:nvPr/>
        </p:nvSpPr>
        <p:spPr>
          <a:xfrm>
            <a:off x="6112377" y="4028044"/>
            <a:ext cx="2548046" cy="173991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lang="en-US" sz="1100" kern="0" dirty="0">
                <a:latin typeface="Century Gothic" pitchFamily="34" charset="0"/>
              </a:rPr>
              <a:t>Auditing reports for specific products. </a:t>
            </a:r>
          </a:p>
          <a:p>
            <a:pPr marL="266700" indent="-266700">
              <a:buClr>
                <a:srgbClr val="007BA2"/>
              </a:buClr>
              <a:buFont typeface="Wingdings" panose="05000000000000000000" pitchFamily="2" charset="2"/>
              <a:buChar char="§"/>
              <a:defRPr/>
            </a:pPr>
            <a:r>
              <a:rPr lang="en-US" sz="1100" kern="0" dirty="0">
                <a:latin typeface="Century Gothic" pitchFamily="34" charset="0"/>
              </a:rPr>
              <a:t>Label check, testing, test report checking.</a:t>
            </a:r>
          </a:p>
        </p:txBody>
      </p:sp>
      <p:pic>
        <p:nvPicPr>
          <p:cNvPr id="1026" name="Picture 2" descr="C:\Users\Berkin\Desktop\global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126" y="1493589"/>
            <a:ext cx="1352814" cy="1792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Berkin\Desktop\customer care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5168" y="1524116"/>
            <a:ext cx="1387210" cy="1761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7162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11</a:t>
            </a:fld>
            <a:endParaRPr lang="en-US"/>
          </a:p>
        </p:txBody>
      </p:sp>
      <p:pic>
        <p:nvPicPr>
          <p:cNvPr id="1026" name="Picture 2" descr="C:\Users\Berkin\Desktop\Forcemac PPT\^4A5B7EB57312063A7747C1E25E17369086EA8E6F1F2D4DDCAF^pimgpsh_fullsize_dist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5" y="461839"/>
            <a:ext cx="2688298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Berkin\Desktop\Forcemac PPT\^13F8A6B8F0B01D6E05EF0283D6F8ACA48BC460B4BC738A482B^pimgpsh_fullsize_dist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5841" y="476672"/>
            <a:ext cx="2280253" cy="2001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Berkin\Desktop\Forcemac PPT\^639C91A26A7F4D9B2B92D6FF743D57D34AECAA6023FF1EEE41^pimgpsh_fullsize_distr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476673"/>
            <a:ext cx="3283471" cy="20013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Berkin\Desktop\Forcemac PPT\^2939AA3881B4A749527BCEB5138E5B8FE42EC8FAB62CC7F813^pimgpsh_fullsize_distr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478063"/>
            <a:ext cx="3024335" cy="1728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Berkin\Desktop\Forcemac PPT\^C0C7E7083F721EF21DBD00ECAEA8C888114E98C62C31FB9BCD^pimgpsh_fullsize_dist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6174" y="2478063"/>
            <a:ext cx="2309962" cy="1732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Berkin\Desktop\Forcemac PPT\^76743DED71DC504A6C0DDF240A3000F07F79EF172EAF053F58^pimgpsh_fullsize_distr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2478063"/>
            <a:ext cx="2923431" cy="3568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Berkin\Desktop\Forcemac PPT\^C0DE186D608338E10CF774EA4ECB05B255565CDBDF9920EC99^pimgpsh_fullsize_distr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4210535"/>
            <a:ext cx="2880320" cy="1836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Berkin\Desktop\Forcemac PPT\^FDB0A785F284F4915EA7E25BB183FEE0C69BAB810278E574F1^pimgpsh_fullsize_distr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06" y="4221088"/>
            <a:ext cx="2475309" cy="182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8116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896" y="260648"/>
            <a:ext cx="8183880" cy="864096"/>
          </a:xfrm>
        </p:spPr>
        <p:txBody>
          <a:bodyPr>
            <a:noAutofit/>
          </a:bodyPr>
          <a:lstStyle/>
          <a:p>
            <a:r>
              <a:rPr lang="en-US" dirty="0" smtClean="0">
                <a:latin typeface="Century Gothic" panose="020B0502020202020204" pitchFamily="34" charset="0"/>
              </a:rPr>
              <a:t>Conclusion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12</a:t>
            </a:fld>
            <a:endParaRPr lang="en-US"/>
          </a:p>
        </p:txBody>
      </p:sp>
      <p:grpSp>
        <p:nvGrpSpPr>
          <p:cNvPr id="8" name="Group 31"/>
          <p:cNvGrpSpPr/>
          <p:nvPr/>
        </p:nvGrpSpPr>
        <p:grpSpPr>
          <a:xfrm flipH="1">
            <a:off x="5375472" y="2132742"/>
            <a:ext cx="917399" cy="2706624"/>
            <a:chOff x="2847536" y="2604868"/>
            <a:chExt cx="900332" cy="2590800"/>
          </a:xfrm>
          <a:noFill/>
        </p:grpSpPr>
        <p:sp>
          <p:nvSpPr>
            <p:cNvPr id="9" name="Freeform 3"/>
            <p:cNvSpPr>
              <a:spLocks noChangeAspect="1"/>
            </p:cNvSpPr>
            <p:nvPr/>
          </p:nvSpPr>
          <p:spPr>
            <a:xfrm rot="5400000">
              <a:off x="2002302" y="3450102"/>
              <a:ext cx="2590800" cy="900332"/>
            </a:xfrm>
            <a:custGeom>
              <a:avLst/>
              <a:gdLst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5983264 w 8298180"/>
                <a:gd name="connsiteY2" fmla="*/ 0 h 2514600"/>
                <a:gd name="connsiteX3" fmla="*/ 8298180 w 8298180"/>
                <a:gd name="connsiteY3" fmla="*/ 2514600 h 2514600"/>
                <a:gd name="connsiteX4" fmla="*/ 0 w 8298180"/>
                <a:gd name="connsiteY4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98180" h="2514600">
                  <a:moveTo>
                    <a:pt x="0" y="2514600"/>
                  </a:moveTo>
                  <a:lnTo>
                    <a:pt x="2314916" y="0"/>
                  </a:lnTo>
                  <a:cubicBezTo>
                    <a:pt x="2924462" y="103996"/>
                    <a:pt x="3206205" y="297133"/>
                    <a:pt x="4143555" y="311989"/>
                  </a:cubicBezTo>
                  <a:cubicBezTo>
                    <a:pt x="5129165" y="300008"/>
                    <a:pt x="5370028" y="103996"/>
                    <a:pt x="5983264" y="0"/>
                  </a:cubicBezTo>
                  <a:lnTo>
                    <a:pt x="8298180" y="2514600"/>
                  </a:lnTo>
                  <a:lnTo>
                    <a:pt x="0" y="2514600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</a:endParaRPr>
            </a:p>
          </p:txBody>
        </p:sp>
        <p:sp>
          <p:nvSpPr>
            <p:cNvPr id="10" name="Freeform 4"/>
            <p:cNvSpPr/>
            <p:nvPr/>
          </p:nvSpPr>
          <p:spPr>
            <a:xfrm rot="5400000">
              <a:off x="2057400" y="3505200"/>
              <a:ext cx="2438400" cy="762000"/>
            </a:xfrm>
            <a:custGeom>
              <a:avLst/>
              <a:gdLst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5983264 w 8298180"/>
                <a:gd name="connsiteY2" fmla="*/ 0 h 2514600"/>
                <a:gd name="connsiteX3" fmla="*/ 8298180 w 8298180"/>
                <a:gd name="connsiteY3" fmla="*/ 2514600 h 2514600"/>
                <a:gd name="connsiteX4" fmla="*/ 0 w 8298180"/>
                <a:gd name="connsiteY4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98180" h="2514600">
                  <a:moveTo>
                    <a:pt x="0" y="2514600"/>
                  </a:moveTo>
                  <a:lnTo>
                    <a:pt x="2314916" y="0"/>
                  </a:lnTo>
                  <a:cubicBezTo>
                    <a:pt x="2924462" y="103996"/>
                    <a:pt x="3206205" y="297133"/>
                    <a:pt x="4143555" y="311989"/>
                  </a:cubicBezTo>
                  <a:cubicBezTo>
                    <a:pt x="5129165" y="300008"/>
                    <a:pt x="5370028" y="103996"/>
                    <a:pt x="5983264" y="0"/>
                  </a:cubicBezTo>
                  <a:lnTo>
                    <a:pt x="8298180" y="2514600"/>
                  </a:lnTo>
                  <a:lnTo>
                    <a:pt x="0" y="2514600"/>
                  </a:lnTo>
                  <a:close/>
                </a:path>
              </a:pathLst>
            </a:custGeom>
            <a:grpFill/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</a:endParaRPr>
            </a:p>
          </p:txBody>
        </p:sp>
      </p:grpSp>
      <p:grpSp>
        <p:nvGrpSpPr>
          <p:cNvPr id="11" name="Group 27"/>
          <p:cNvGrpSpPr/>
          <p:nvPr/>
        </p:nvGrpSpPr>
        <p:grpSpPr>
          <a:xfrm>
            <a:off x="2796046" y="2132292"/>
            <a:ext cx="873457" cy="2707524"/>
            <a:chOff x="2847536" y="2604868"/>
            <a:chExt cx="900332" cy="2590800"/>
          </a:xfrm>
          <a:noFill/>
        </p:grpSpPr>
        <p:sp>
          <p:nvSpPr>
            <p:cNvPr id="12" name="Freeform 6"/>
            <p:cNvSpPr>
              <a:spLocks noChangeAspect="1"/>
            </p:cNvSpPr>
            <p:nvPr/>
          </p:nvSpPr>
          <p:spPr>
            <a:xfrm rot="5400000">
              <a:off x="2002302" y="3450102"/>
              <a:ext cx="2590800" cy="900332"/>
            </a:xfrm>
            <a:custGeom>
              <a:avLst/>
              <a:gdLst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5983264 w 8298180"/>
                <a:gd name="connsiteY2" fmla="*/ 0 h 2514600"/>
                <a:gd name="connsiteX3" fmla="*/ 8298180 w 8298180"/>
                <a:gd name="connsiteY3" fmla="*/ 2514600 h 2514600"/>
                <a:gd name="connsiteX4" fmla="*/ 0 w 8298180"/>
                <a:gd name="connsiteY4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98180" h="2514600">
                  <a:moveTo>
                    <a:pt x="0" y="2514600"/>
                  </a:moveTo>
                  <a:lnTo>
                    <a:pt x="2314916" y="0"/>
                  </a:lnTo>
                  <a:cubicBezTo>
                    <a:pt x="2924462" y="103996"/>
                    <a:pt x="3206205" y="297133"/>
                    <a:pt x="4143555" y="311989"/>
                  </a:cubicBezTo>
                  <a:cubicBezTo>
                    <a:pt x="5129165" y="300008"/>
                    <a:pt x="5370028" y="103996"/>
                    <a:pt x="5983264" y="0"/>
                  </a:cubicBezTo>
                  <a:lnTo>
                    <a:pt x="8298180" y="2514600"/>
                  </a:lnTo>
                  <a:lnTo>
                    <a:pt x="0" y="2514600"/>
                  </a:lnTo>
                  <a:close/>
                </a:path>
              </a:pathLst>
            </a:custGeom>
            <a:grpFill/>
            <a:ln w="3175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</a:endParaRPr>
            </a:p>
          </p:txBody>
        </p:sp>
        <p:sp>
          <p:nvSpPr>
            <p:cNvPr id="13" name="Freeform 7"/>
            <p:cNvSpPr/>
            <p:nvPr/>
          </p:nvSpPr>
          <p:spPr>
            <a:xfrm rot="5400000">
              <a:off x="2057400" y="3505200"/>
              <a:ext cx="2438400" cy="762000"/>
            </a:xfrm>
            <a:custGeom>
              <a:avLst/>
              <a:gdLst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5983264 w 8298180"/>
                <a:gd name="connsiteY2" fmla="*/ 0 h 2514600"/>
                <a:gd name="connsiteX3" fmla="*/ 8298180 w 8298180"/>
                <a:gd name="connsiteY3" fmla="*/ 2514600 h 2514600"/>
                <a:gd name="connsiteX4" fmla="*/ 0 w 8298180"/>
                <a:gd name="connsiteY4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  <a:gd name="connsiteX0" fmla="*/ 0 w 8298180"/>
                <a:gd name="connsiteY0" fmla="*/ 2514600 h 2514600"/>
                <a:gd name="connsiteX1" fmla="*/ 2314916 w 8298180"/>
                <a:gd name="connsiteY1" fmla="*/ 0 h 2514600"/>
                <a:gd name="connsiteX2" fmla="*/ 4143555 w 8298180"/>
                <a:gd name="connsiteY2" fmla="*/ 311989 h 2514600"/>
                <a:gd name="connsiteX3" fmla="*/ 5983264 w 8298180"/>
                <a:gd name="connsiteY3" fmla="*/ 0 h 2514600"/>
                <a:gd name="connsiteX4" fmla="*/ 8298180 w 8298180"/>
                <a:gd name="connsiteY4" fmla="*/ 2514600 h 2514600"/>
                <a:gd name="connsiteX5" fmla="*/ 0 w 8298180"/>
                <a:gd name="connsiteY5" fmla="*/ 2514600 h 2514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98180" h="2514600">
                  <a:moveTo>
                    <a:pt x="0" y="2514600"/>
                  </a:moveTo>
                  <a:lnTo>
                    <a:pt x="2314916" y="0"/>
                  </a:lnTo>
                  <a:cubicBezTo>
                    <a:pt x="2924462" y="103996"/>
                    <a:pt x="3206205" y="297133"/>
                    <a:pt x="4143555" y="311989"/>
                  </a:cubicBezTo>
                  <a:cubicBezTo>
                    <a:pt x="5129165" y="300008"/>
                    <a:pt x="5370028" y="103996"/>
                    <a:pt x="5983264" y="0"/>
                  </a:cubicBezTo>
                  <a:lnTo>
                    <a:pt x="8298180" y="2514600"/>
                  </a:lnTo>
                  <a:lnTo>
                    <a:pt x="0" y="2514600"/>
                  </a:lnTo>
                  <a:close/>
                </a:path>
              </a:pathLst>
            </a:custGeom>
            <a:grpFill/>
            <a:ln w="317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</a:endParaRPr>
            </a:p>
          </p:txBody>
        </p:sp>
      </p:grpSp>
      <p:sp>
        <p:nvSpPr>
          <p:cNvPr id="14" name="Snip and Round Single Corner Rectangle 8"/>
          <p:cNvSpPr/>
          <p:nvPr/>
        </p:nvSpPr>
        <p:spPr>
          <a:xfrm flipV="1">
            <a:off x="738646" y="4154016"/>
            <a:ext cx="2057400" cy="1219200"/>
          </a:xfrm>
          <a:prstGeom prst="snipRoundRect">
            <a:avLst>
              <a:gd name="adj1" fmla="val 16667"/>
              <a:gd name="adj2" fmla="val 50000"/>
            </a:avLst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15" name="Snip and Round Single Corner Rectangle 9"/>
          <p:cNvSpPr/>
          <p:nvPr/>
        </p:nvSpPr>
        <p:spPr>
          <a:xfrm>
            <a:off x="780263" y="4146056"/>
            <a:ext cx="1974166" cy="1219200"/>
          </a:xfrm>
          <a:prstGeom prst="snipRoundRect">
            <a:avLst>
              <a:gd name="adj1" fmla="val 0"/>
              <a:gd name="adj2" fmla="val 0"/>
            </a:avLst>
          </a:prstGeom>
          <a:noFill/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4000"/>
              </a:lnSpc>
              <a:defRPr/>
            </a:pPr>
            <a:r>
              <a:rPr lang="tr-TR" sz="1400" kern="0" dirty="0" err="1" smtClean="0">
                <a:solidFill>
                  <a:prstClr val="black"/>
                </a:solidFill>
                <a:latin typeface="Century Gothic" pitchFamily="34" charset="0"/>
              </a:rPr>
              <a:t>Sectorial</a:t>
            </a:r>
            <a:r>
              <a:rPr lang="tr-TR" sz="1400" kern="0" dirty="0" smtClean="0">
                <a:solidFill>
                  <a:prstClr val="black"/>
                </a:solidFill>
                <a:latin typeface="Century Gothic" pitchFamily="34" charset="0"/>
              </a:rPr>
              <a:t> </a:t>
            </a:r>
            <a:r>
              <a:rPr lang="tr-TR" sz="1400" b="1" i="1" kern="0" dirty="0">
                <a:solidFill>
                  <a:prstClr val="black"/>
                </a:solidFill>
                <a:latin typeface="Century Gothic" pitchFamily="34" charset="0"/>
              </a:rPr>
              <a:t>Knowledge</a:t>
            </a:r>
            <a:r>
              <a:rPr lang="tr-TR" sz="1400" kern="0" dirty="0">
                <a:solidFill>
                  <a:prstClr val="black"/>
                </a:solidFill>
                <a:latin typeface="Century Gothic" pitchFamily="34" charset="0"/>
              </a:rPr>
              <a:t> in Auto </a:t>
            </a:r>
            <a:r>
              <a:rPr lang="tr-TR" sz="1400" kern="0" dirty="0" err="1">
                <a:solidFill>
                  <a:prstClr val="black"/>
                </a:solidFill>
                <a:latin typeface="Century Gothic" pitchFamily="34" charset="0"/>
              </a:rPr>
              <a:t>Industry</a:t>
            </a:r>
            <a:endParaRPr lang="en-US" sz="1400" kern="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16" name="Snip and Round Single Corner Rectangle 10"/>
          <p:cNvSpPr/>
          <p:nvPr/>
        </p:nvSpPr>
        <p:spPr>
          <a:xfrm flipH="1" flipV="1">
            <a:off x="6307730" y="4154016"/>
            <a:ext cx="2057400" cy="1045258"/>
          </a:xfrm>
          <a:prstGeom prst="snipRoundRect">
            <a:avLst>
              <a:gd name="adj1" fmla="val 16667"/>
              <a:gd name="adj2" fmla="val 32978"/>
            </a:avLst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17" name="Snip and Round Single Corner Rectangle 11"/>
          <p:cNvSpPr/>
          <p:nvPr/>
        </p:nvSpPr>
        <p:spPr>
          <a:xfrm>
            <a:off x="6292872" y="4135463"/>
            <a:ext cx="2057400" cy="1139735"/>
          </a:xfrm>
          <a:prstGeom prst="snipRoundRect">
            <a:avLst>
              <a:gd name="adj1" fmla="val 0"/>
              <a:gd name="adj2" fmla="val 0"/>
            </a:avLst>
          </a:prstGeom>
          <a:noFill/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lnSpc>
                <a:spcPct val="114000"/>
              </a:lnSpc>
              <a:defRPr/>
            </a:pPr>
            <a:r>
              <a:rPr lang="en-US" sz="1400" kern="0" dirty="0">
                <a:solidFill>
                  <a:prstClr val="black"/>
                </a:solidFill>
                <a:latin typeface="Century Gothic" pitchFamily="34" charset="0"/>
              </a:rPr>
              <a:t>Purchasing high quality service and products </a:t>
            </a:r>
            <a:r>
              <a:rPr lang="en-US" sz="1400" b="1" kern="0" dirty="0">
                <a:solidFill>
                  <a:prstClr val="black"/>
                </a:solidFill>
                <a:latin typeface="Century Gothic" pitchFamily="34" charset="0"/>
              </a:rPr>
              <a:t>Safely</a:t>
            </a:r>
          </a:p>
        </p:txBody>
      </p:sp>
      <p:sp>
        <p:nvSpPr>
          <p:cNvPr id="18" name="Snip and Round Single Corner Rectangle 12"/>
          <p:cNvSpPr/>
          <p:nvPr/>
        </p:nvSpPr>
        <p:spPr>
          <a:xfrm>
            <a:off x="738646" y="2858616"/>
            <a:ext cx="2057400" cy="1219200"/>
          </a:xfrm>
          <a:prstGeom prst="snipRoundRect">
            <a:avLst>
              <a:gd name="adj1" fmla="val 0"/>
              <a:gd name="adj2" fmla="val 0"/>
            </a:avLst>
          </a:prstGeom>
          <a:noFill/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19" name="Snip and Round Single Corner Rectangle 13"/>
          <p:cNvSpPr/>
          <p:nvPr/>
        </p:nvSpPr>
        <p:spPr>
          <a:xfrm flipH="1">
            <a:off x="6307730" y="1774152"/>
            <a:ext cx="2057400" cy="1022122"/>
          </a:xfrm>
          <a:prstGeom prst="snipRoundRect">
            <a:avLst>
              <a:gd name="adj1" fmla="val 16667"/>
              <a:gd name="adj2" fmla="val 31498"/>
            </a:avLst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US" sz="1400" b="1" i="1" kern="0" dirty="0">
                <a:solidFill>
                  <a:prstClr val="black"/>
                </a:solidFill>
                <a:latin typeface="Century Gothic" pitchFamily="34" charset="0"/>
              </a:rPr>
              <a:t>Profitable</a:t>
            </a:r>
            <a:r>
              <a:rPr lang="en-US" sz="1400" kern="0" dirty="0">
                <a:solidFill>
                  <a:prstClr val="black"/>
                </a:solidFill>
                <a:latin typeface="Century Gothic" pitchFamily="34" charset="0"/>
              </a:rPr>
              <a:t> operations with </a:t>
            </a:r>
            <a:r>
              <a:rPr lang="en-US" sz="1400" kern="0" dirty="0" err="1" smtClean="0">
                <a:solidFill>
                  <a:prstClr val="black"/>
                </a:solidFill>
                <a:latin typeface="Century Gothic" pitchFamily="34" charset="0"/>
              </a:rPr>
              <a:t>Forcemac</a:t>
            </a:r>
            <a:endParaRPr lang="en-US" sz="1400" kern="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20" name="Snip and Round Single Corner Rectangle 15"/>
          <p:cNvSpPr/>
          <p:nvPr/>
        </p:nvSpPr>
        <p:spPr>
          <a:xfrm>
            <a:off x="738646" y="1563216"/>
            <a:ext cx="2057400" cy="1219200"/>
          </a:xfrm>
          <a:prstGeom prst="snipRoundRect">
            <a:avLst>
              <a:gd name="adj1" fmla="val 16667"/>
              <a:gd name="adj2" fmla="val 50000"/>
            </a:avLst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" tIns="45720" rIns="9144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lnSpc>
                <a:spcPct val="114000"/>
              </a:lnSpc>
              <a:defRPr/>
            </a:pPr>
            <a:r>
              <a:rPr lang="en-US" sz="1400" kern="0" dirty="0">
                <a:solidFill>
                  <a:prstClr val="black"/>
                </a:solidFill>
                <a:latin typeface="Century Gothic" pitchFamily="34" charset="0"/>
              </a:rPr>
              <a:t>Strong </a:t>
            </a:r>
            <a:r>
              <a:rPr lang="en-US" sz="1400" b="1" i="1" kern="0" dirty="0">
                <a:solidFill>
                  <a:prstClr val="black"/>
                </a:solidFill>
                <a:latin typeface="Century Gothic" pitchFamily="34" charset="0"/>
              </a:rPr>
              <a:t>Expertise</a:t>
            </a:r>
            <a:r>
              <a:rPr lang="en-US" sz="1400" kern="0" dirty="0">
                <a:solidFill>
                  <a:prstClr val="black"/>
                </a:solidFill>
                <a:latin typeface="Century Gothic" pitchFamily="34" charset="0"/>
              </a:rPr>
              <a:t> in China to do International Business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21" name="Rectangle 16"/>
          <p:cNvSpPr/>
          <p:nvPr/>
        </p:nvSpPr>
        <p:spPr>
          <a:xfrm>
            <a:off x="738646" y="2858616"/>
            <a:ext cx="2057400" cy="1219200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4000"/>
              </a:lnSpc>
              <a:defRPr/>
            </a:pPr>
            <a:r>
              <a:rPr lang="en-US" sz="1400" b="1" i="1" kern="0" dirty="0">
                <a:solidFill>
                  <a:prstClr val="black"/>
                </a:solidFill>
                <a:latin typeface="Century Gothic" pitchFamily="34" charset="0"/>
              </a:rPr>
              <a:t>High Efficiency </a:t>
            </a:r>
            <a:r>
              <a:rPr lang="en-US" sz="1400" kern="0" dirty="0">
                <a:solidFill>
                  <a:prstClr val="black"/>
                </a:solidFill>
                <a:latin typeface="Century Gothic" pitchFamily="34" charset="0"/>
              </a:rPr>
              <a:t>in </a:t>
            </a:r>
            <a:r>
              <a:rPr lang="en-US" sz="1400" kern="0" dirty="0" smtClean="0">
                <a:solidFill>
                  <a:prstClr val="black"/>
                </a:solidFill>
                <a:latin typeface="Century Gothic" pitchFamily="34" charset="0"/>
              </a:rPr>
              <a:t>Communication</a:t>
            </a:r>
            <a:endParaRPr lang="en-US" sz="1400" kern="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22" name="TextBox 17"/>
          <p:cNvSpPr txBox="1"/>
          <p:nvPr/>
        </p:nvSpPr>
        <p:spPr>
          <a:xfrm rot="16200000">
            <a:off x="2403363" y="3301389"/>
            <a:ext cx="15140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</a:rPr>
              <a:t>Inside Out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23" name="TextBox 18"/>
          <p:cNvSpPr txBox="1"/>
          <p:nvPr/>
        </p:nvSpPr>
        <p:spPr>
          <a:xfrm rot="5400000" flipH="1">
            <a:off x="5225496" y="3301388"/>
            <a:ext cx="1379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</a:rPr>
              <a:t>Outside  In</a:t>
            </a:r>
            <a:endParaRPr kumimoji="0" lang="en-US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pic>
        <p:nvPicPr>
          <p:cNvPr id="24" name="Picture 2" descr="C:\Users\Berkin\Desktop\Forcemac\Forcemac 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3780" y="3105172"/>
            <a:ext cx="2124115" cy="79208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16"/>
          <p:cNvSpPr/>
          <p:nvPr/>
        </p:nvSpPr>
        <p:spPr>
          <a:xfrm>
            <a:off x="6307730" y="2858616"/>
            <a:ext cx="2057400" cy="1219200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175" cap="flat" cmpd="sng" algn="ctr">
            <a:solidFill>
              <a:sysClr val="windowText" lastClr="000000">
                <a:lumMod val="50000"/>
                <a:lumOff val="50000"/>
              </a:sysClr>
            </a:solidFill>
            <a:prstDash val="dash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>
              <a:lnSpc>
                <a:spcPct val="114000"/>
              </a:lnSpc>
              <a:defRPr/>
            </a:pPr>
            <a:r>
              <a:rPr lang="en-US" sz="1400" b="1" i="1" kern="0" dirty="0">
                <a:solidFill>
                  <a:prstClr val="black"/>
                </a:solidFill>
                <a:latin typeface="Century Gothic" pitchFamily="34" charset="0"/>
              </a:rPr>
              <a:t>Innovative</a:t>
            </a:r>
            <a:r>
              <a:rPr lang="en-US" sz="1400" kern="0" dirty="0">
                <a:solidFill>
                  <a:prstClr val="black"/>
                </a:solidFill>
                <a:latin typeface="Century Gothic" pitchFamily="34" charset="0"/>
              </a:rPr>
              <a:t> Project </a:t>
            </a:r>
            <a:r>
              <a:rPr lang="en-US" sz="1400" kern="0" dirty="0" smtClean="0">
                <a:solidFill>
                  <a:prstClr val="black"/>
                </a:solidFill>
                <a:latin typeface="Century Gothic" pitchFamily="34" charset="0"/>
              </a:rPr>
              <a:t>Developments</a:t>
            </a:r>
            <a:endParaRPr lang="en-US" sz="1400" kern="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28" name="Yukarı Bükülü Ok 27"/>
          <p:cNvSpPr/>
          <p:nvPr/>
        </p:nvSpPr>
        <p:spPr>
          <a:xfrm>
            <a:off x="3280736" y="4763616"/>
            <a:ext cx="2570202" cy="435658"/>
          </a:xfrm>
          <a:prstGeom prst="curvedUp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Yukarı Bükülü Ok 29"/>
          <p:cNvSpPr/>
          <p:nvPr/>
        </p:nvSpPr>
        <p:spPr>
          <a:xfrm rot="10800000">
            <a:off x="3299560" y="1705233"/>
            <a:ext cx="2570202" cy="435658"/>
          </a:xfrm>
          <a:prstGeom prst="curvedUp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1" name="Metin kutusu 30"/>
          <p:cNvSpPr txBox="1"/>
          <p:nvPr/>
        </p:nvSpPr>
        <p:spPr>
          <a:xfrm>
            <a:off x="3909606" y="5246258"/>
            <a:ext cx="1557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kern="0" dirty="0">
                <a:solidFill>
                  <a:prstClr val="black"/>
                </a:solidFill>
                <a:latin typeface="Century Gothic" pitchFamily="34" charset="0"/>
              </a:rPr>
              <a:t>Voice of </a:t>
            </a:r>
            <a:r>
              <a:rPr lang="en-US" sz="1200" b="1" kern="0" dirty="0" smtClean="0">
                <a:solidFill>
                  <a:prstClr val="black"/>
                </a:solidFill>
                <a:latin typeface="Century Gothic" pitchFamily="34" charset="0"/>
              </a:rPr>
              <a:t>Business</a:t>
            </a:r>
            <a:endParaRPr lang="en-US" sz="2400" dirty="0"/>
          </a:p>
        </p:txBody>
      </p:sp>
      <p:sp>
        <p:nvSpPr>
          <p:cNvPr id="32" name="Metin kutusu 31"/>
          <p:cNvSpPr txBox="1"/>
          <p:nvPr/>
        </p:nvSpPr>
        <p:spPr>
          <a:xfrm>
            <a:off x="3805738" y="1397642"/>
            <a:ext cx="1557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kern="0" dirty="0">
                <a:solidFill>
                  <a:prstClr val="black"/>
                </a:solidFill>
                <a:latin typeface="Century Gothic" pitchFamily="34" charset="0"/>
              </a:rPr>
              <a:t>Voice of </a:t>
            </a:r>
            <a:r>
              <a:rPr lang="tr-TR" sz="1200" b="1" kern="0" dirty="0" err="1" smtClean="0">
                <a:solidFill>
                  <a:prstClr val="black"/>
                </a:solidFill>
                <a:latin typeface="Century Gothic" pitchFamily="34" charset="0"/>
              </a:rPr>
              <a:t>Customer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15045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530352"/>
            <a:ext cx="8183880" cy="534692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sz="4800" b="1" dirty="0" smtClean="0">
              <a:solidFill>
                <a:srgbClr val="FF0000"/>
              </a:solidFill>
            </a:endParaRPr>
          </a:p>
          <a:p>
            <a:pPr marL="0" indent="0" algn="ctr">
              <a:buNone/>
            </a:pPr>
            <a:endParaRPr lang="en-US" sz="4800" b="1" dirty="0">
              <a:solidFill>
                <a:srgbClr val="FF0000"/>
              </a:solidFill>
            </a:endParaRPr>
          </a:p>
          <a:p>
            <a:pPr marL="0" indent="0" algn="ctr">
              <a:buNone/>
            </a:pPr>
            <a:r>
              <a:rPr lang="en-US" sz="4800" b="1" dirty="0" smtClean="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Century Gothic" panose="020B0502020202020204" pitchFamily="34" charset="0"/>
                <a:ea typeface="+mj-ea"/>
                <a:cs typeface="+mj-cs"/>
              </a:rPr>
              <a:t>THANK YOU</a:t>
            </a:r>
            <a:r>
              <a:rPr lang="tr-TR" sz="4800" b="1" dirty="0" smtClean="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Century Gothic" panose="020B0502020202020204" pitchFamily="34" charset="0"/>
                <a:ea typeface="+mj-ea"/>
                <a:cs typeface="+mj-cs"/>
              </a:rPr>
              <a:t> …</a:t>
            </a:r>
            <a:endParaRPr lang="en-US" sz="4800" b="1" dirty="0">
              <a:solidFill>
                <a:schemeClr val="accent1">
                  <a:tint val="88000"/>
                  <a:satMod val="150000"/>
                </a:schemeClr>
              </a:solidFill>
              <a:effectLst>
                <a:outerShdw blurRad="53975" dist="22860" dir="5400000" algn="tl" rotWithShape="0">
                  <a:srgbClr val="000000">
                    <a:alpha val="55000"/>
                  </a:srgbClr>
                </a:outerShdw>
              </a:effectLst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79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67544" y="476672"/>
            <a:ext cx="3960440" cy="1051560"/>
          </a:xfrm>
        </p:spPr>
        <p:txBody>
          <a:bodyPr/>
          <a:lstStyle/>
          <a:p>
            <a:r>
              <a:rPr lang="tr-TR" dirty="0" err="1" smtClean="0">
                <a:latin typeface="Century Gothic" panose="020B0502020202020204" pitchFamily="34" charset="0"/>
              </a:rPr>
              <a:t>Agenda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2</a:t>
            </a:fld>
            <a:endParaRPr lang="en-US"/>
          </a:p>
        </p:txBody>
      </p:sp>
      <p:pic>
        <p:nvPicPr>
          <p:cNvPr id="2050" name="Picture 2" descr="C:\Users\Berkin\Desktop\agend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1700808"/>
            <a:ext cx="2326382" cy="38884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内容占位符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5321449"/>
              </p:ext>
            </p:extLst>
          </p:nvPr>
        </p:nvGraphicFramePr>
        <p:xfrm>
          <a:off x="467545" y="1556792"/>
          <a:ext cx="5328591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03864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C:\Users\Berkin\Desktop\overseas market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9928" y="3009132"/>
            <a:ext cx="3997982" cy="2304255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67544" y="476672"/>
            <a:ext cx="8183880" cy="648072"/>
          </a:xfrm>
        </p:spPr>
        <p:txBody>
          <a:bodyPr/>
          <a:lstStyle/>
          <a:p>
            <a:r>
              <a:rPr lang="tr-TR" dirty="0" err="1" smtClean="0">
                <a:latin typeface="Century Gothic" panose="020B0502020202020204" pitchFamily="34" charset="0"/>
              </a:rPr>
              <a:t>About</a:t>
            </a:r>
            <a:r>
              <a:rPr lang="tr-TR" dirty="0" smtClean="0">
                <a:latin typeface="Century Gothic" panose="020B0502020202020204" pitchFamily="34" charset="0"/>
              </a:rPr>
              <a:t> Us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426709" y="1037729"/>
            <a:ext cx="8183880" cy="1599183"/>
          </a:xfrm>
        </p:spPr>
        <p:txBody>
          <a:bodyPr>
            <a:normAutofit/>
          </a:bodyPr>
          <a:lstStyle/>
          <a:p>
            <a:r>
              <a:rPr lang="tr-TR" sz="1800" dirty="0" smtClean="0">
                <a:latin typeface="Century Gothic" panose="020B0502020202020204" pitchFamily="34" charset="0"/>
              </a:rPr>
              <a:t>China &amp; Hong Kong Based Company</a:t>
            </a:r>
            <a:endParaRPr lang="tr-TR" sz="1800" dirty="0">
              <a:latin typeface="Century Gothic" panose="020B0502020202020204" pitchFamily="34" charset="0"/>
            </a:endParaRPr>
          </a:p>
          <a:p>
            <a:r>
              <a:rPr lang="tr-TR" sz="1800" dirty="0" smtClean="0">
                <a:latin typeface="Century Gothic" panose="020B0502020202020204" pitchFamily="34" charset="0"/>
              </a:rPr>
              <a:t>Reliable Supplier from the production stages till the delivery</a:t>
            </a:r>
          </a:p>
          <a:p>
            <a:r>
              <a:rPr lang="en-US" sz="1800" dirty="0" smtClean="0">
                <a:latin typeface="Century Gothic" panose="020B0502020202020204" pitchFamily="34" charset="0"/>
              </a:rPr>
              <a:t>Focuses on Const. Mach. Spare Parts and </a:t>
            </a:r>
            <a:r>
              <a:rPr lang="en-US" sz="1800" dirty="0" err="1" smtClean="0">
                <a:latin typeface="Century Gothic" panose="020B0502020202020204" pitchFamily="34" charset="0"/>
              </a:rPr>
              <a:t>Auto&amp;Truck</a:t>
            </a:r>
            <a:r>
              <a:rPr lang="en-US" sz="1800" dirty="0" smtClean="0">
                <a:latin typeface="Century Gothic" panose="020B0502020202020204" pitchFamily="34" charset="0"/>
              </a:rPr>
              <a:t> Spare parts as well as Auto Electronics</a:t>
            </a:r>
            <a:r>
              <a:rPr lang="tr-TR" sz="1800" dirty="0" smtClean="0">
                <a:latin typeface="Century Gothic" panose="020B0502020202020204" pitchFamily="34" charset="0"/>
              </a:rPr>
              <a:t>;</a:t>
            </a:r>
            <a:endParaRPr lang="en-US" sz="1800" dirty="0">
              <a:latin typeface="Century Gothic" panose="020B0502020202020204" pitchFamily="34" charset="0"/>
            </a:endParaRPr>
          </a:p>
          <a:p>
            <a:endParaRPr lang="tr-TR" sz="1800" dirty="0" smtClean="0"/>
          </a:p>
          <a:p>
            <a:endParaRPr lang="tr-TR" sz="2000" dirty="0"/>
          </a:p>
          <a:p>
            <a:endParaRPr lang="en-US" sz="2000" dirty="0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3</a:t>
            </a:fld>
            <a:endParaRPr lang="en-US"/>
          </a:p>
        </p:txBody>
      </p:sp>
      <p:pic>
        <p:nvPicPr>
          <p:cNvPr id="1032" name="Picture 8" descr="F:\Logos\HeavyDutyEquipmen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8534" y="3310809"/>
            <a:ext cx="1479000" cy="1813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Berkin\Desktop\factory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246" y="3198269"/>
            <a:ext cx="1512170" cy="17411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1960" y="3365490"/>
            <a:ext cx="1406184" cy="17703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5" descr="C:\Users\Berkin\Desktop\buyer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82" y="3198269"/>
            <a:ext cx="2011636" cy="1925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C:\Users\Berkin\Desktop\Forcemac\Forcemac Log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0804" y="3166794"/>
            <a:ext cx="1145296" cy="39739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:\Users\Berkin\Desktop\china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9072" y="3198269"/>
            <a:ext cx="432048" cy="31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ounded Rectangle 3"/>
          <p:cNvSpPr/>
          <p:nvPr/>
        </p:nvSpPr>
        <p:spPr>
          <a:xfrm>
            <a:off x="2724886" y="3310809"/>
            <a:ext cx="3143258" cy="1813443"/>
          </a:xfrm>
          <a:prstGeom prst="roundRect">
            <a:avLst>
              <a:gd name="adj" fmla="val 9786"/>
            </a:avLst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dash"/>
          </a:ln>
          <a:effectLst/>
        </p:spPr>
        <p:txBody>
          <a:bodyPr anchor="t" anchorCtr="0"/>
          <a:lstStyle/>
          <a:p>
            <a:pPr marL="233363" marR="0" lvl="0" indent="-233363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BA2"/>
              </a:buClr>
              <a:buSzTx/>
              <a:buFont typeface="Century Gothic" pitchFamily="34" charset="0"/>
              <a:buChar char="►"/>
              <a:tabLst/>
              <a:defRPr/>
            </a:pPr>
            <a:endParaRPr kumimoji="0" lang="tr-TR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33363" marR="0" lvl="0" indent="-233363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BA2"/>
              </a:buClr>
              <a:buSzTx/>
              <a:buFont typeface="Century Gothic" pitchFamily="34" charset="0"/>
              <a:buChar char="►"/>
              <a:tabLst/>
              <a:defRPr/>
            </a:pPr>
            <a:endParaRPr kumimoji="0" lang="tr-TR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33363" marR="0" lvl="0" indent="-233363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BA2"/>
              </a:buClr>
              <a:buSzTx/>
              <a:buFont typeface="Century Gothic" pitchFamily="34" charset="0"/>
              <a:buChar char="►"/>
              <a:tabLst/>
              <a:defRPr/>
            </a:pPr>
            <a:endParaRPr kumimoji="0" lang="tr-TR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33363" marR="0" lvl="0" indent="-233363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BA2"/>
              </a:buClr>
              <a:buSzTx/>
              <a:buFont typeface="Century Gothic" pitchFamily="34" charset="0"/>
              <a:buChar char="►"/>
              <a:tabLst/>
              <a:defRPr/>
            </a:pPr>
            <a:endParaRPr kumimoji="0" lang="tr-TR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33363" marR="0" lvl="0" indent="-233363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BA2"/>
              </a:buClr>
              <a:buSzTx/>
              <a:buFont typeface="Century Gothic" pitchFamily="34" charset="0"/>
              <a:buChar char="►"/>
              <a:tabLst/>
              <a:defRPr/>
            </a:pPr>
            <a:endParaRPr kumimoji="0" lang="tr-TR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33363" marR="0" lvl="0" indent="-233363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7BA2"/>
              </a:buClr>
              <a:buSzTx/>
              <a:buFont typeface="Century Gothic" pitchFamily="34" charset="0"/>
              <a:buChar char="►"/>
              <a:tabLst/>
              <a:defRPr/>
            </a:pPr>
            <a:endParaRPr kumimoji="0" lang="tr-TR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33363" marR="0" lvl="0" indent="-23336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BA2"/>
              </a:buClr>
              <a:buSzTx/>
              <a:buFontTx/>
              <a:buNone/>
              <a:tabLst/>
              <a:defRPr/>
            </a:pPr>
            <a:endParaRPr kumimoji="0" lang="tr-TR" sz="18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10" name="Düz Bağlayıcı 9"/>
          <p:cNvCxnSpPr>
            <a:stCxn id="49" idx="0"/>
            <a:endCxn id="49" idx="2"/>
          </p:cNvCxnSpPr>
          <p:nvPr/>
        </p:nvCxnSpPr>
        <p:spPr>
          <a:xfrm>
            <a:off x="4296515" y="3310809"/>
            <a:ext cx="0" cy="1813443"/>
          </a:xfrm>
          <a:prstGeom prst="line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5" name="Picture 7" descr="C:\Users\Berkin\Desktop\production line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6719" y="4152021"/>
            <a:ext cx="458568" cy="29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Sol Ok 38"/>
          <p:cNvSpPr/>
          <p:nvPr/>
        </p:nvSpPr>
        <p:spPr>
          <a:xfrm>
            <a:off x="6012427" y="3613160"/>
            <a:ext cx="770966" cy="360040"/>
          </a:xfrm>
          <a:prstGeom prst="lef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b="1" i="1" dirty="0" err="1" smtClean="0">
                <a:latin typeface="Century Gothic" panose="020B0502020202020204" pitchFamily="34" charset="0"/>
              </a:rPr>
              <a:t>demand</a:t>
            </a:r>
            <a:endParaRPr lang="en-US" sz="800" b="1" i="1" dirty="0">
              <a:latin typeface="Century Gothic" panose="020B0502020202020204" pitchFamily="34" charset="0"/>
            </a:endParaRPr>
          </a:p>
        </p:txBody>
      </p:sp>
      <p:sp>
        <p:nvSpPr>
          <p:cNvPr id="40" name="Sağ Ok 39"/>
          <p:cNvSpPr/>
          <p:nvPr/>
        </p:nvSpPr>
        <p:spPr>
          <a:xfrm>
            <a:off x="1826719" y="4365104"/>
            <a:ext cx="758318" cy="360040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1000" b="1" i="1" dirty="0" err="1" smtClean="0">
                <a:latin typeface="Century Gothic" panose="020B0502020202020204" pitchFamily="34" charset="0"/>
              </a:rPr>
              <a:t>supply</a:t>
            </a:r>
            <a:endParaRPr lang="en-US" sz="1000" b="1" i="1" dirty="0">
              <a:latin typeface="Century Gothic" panose="020B0502020202020204" pitchFamily="34" charset="0"/>
            </a:endParaRPr>
          </a:p>
        </p:txBody>
      </p:sp>
      <p:cxnSp>
        <p:nvCxnSpPr>
          <p:cNvPr id="44" name="Düz Ok Bağlayıcısı 43"/>
          <p:cNvCxnSpPr/>
          <p:nvPr/>
        </p:nvCxnSpPr>
        <p:spPr>
          <a:xfrm>
            <a:off x="611560" y="2793107"/>
            <a:ext cx="7848872" cy="36004"/>
          </a:xfrm>
          <a:prstGeom prst="straightConnector1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  <a:prstDash val="dash"/>
            <a:headEnd type="arrow"/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48" name="Metin kutusu 47"/>
          <p:cNvSpPr txBox="1"/>
          <p:nvPr/>
        </p:nvSpPr>
        <p:spPr>
          <a:xfrm>
            <a:off x="3246626" y="2564904"/>
            <a:ext cx="2206799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i="1" dirty="0" smtClean="0">
                <a:latin typeface="Century Gothic" panose="020B0502020202020204" pitchFamily="34" charset="0"/>
              </a:rPr>
              <a:t>Overseas </a:t>
            </a:r>
            <a:r>
              <a:rPr lang="en-US" i="1" dirty="0" smtClean="0">
                <a:latin typeface="Century Gothic" panose="020B0502020202020204" pitchFamily="34" charset="0"/>
              </a:rPr>
              <a:t>Business </a:t>
            </a:r>
          </a:p>
          <a:p>
            <a:pPr algn="ctr"/>
            <a:endParaRPr lang="en-US" i="1" dirty="0">
              <a:latin typeface="Century Gothic" panose="020B0502020202020204" pitchFamily="34" charset="0"/>
            </a:endParaRPr>
          </a:p>
        </p:txBody>
      </p:sp>
      <p:sp>
        <p:nvSpPr>
          <p:cNvPr id="52" name="Yuvarlatılmış Dikdörtgen 51"/>
          <p:cNvSpPr/>
          <p:nvPr/>
        </p:nvSpPr>
        <p:spPr>
          <a:xfrm>
            <a:off x="1242331" y="5445224"/>
            <a:ext cx="6714045" cy="57606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dirty="0" smtClean="0">
                <a:latin typeface="Century Gothic" panose="020B0502020202020204" pitchFamily="34" charset="0"/>
              </a:rPr>
              <a:t>FORCEMAC is </a:t>
            </a:r>
            <a:r>
              <a:rPr lang="tr-TR" dirty="0" err="1" smtClean="0">
                <a:latin typeface="Century Gothic" panose="020B0502020202020204" pitchFamily="34" charset="0"/>
              </a:rPr>
              <a:t>your</a:t>
            </a:r>
            <a:r>
              <a:rPr lang="tr-TR" dirty="0" smtClean="0">
                <a:latin typeface="Century Gothic" panose="020B0502020202020204" pitchFamily="34" charset="0"/>
              </a:rPr>
              <a:t> </a:t>
            </a:r>
            <a:r>
              <a:rPr lang="tr-TR" dirty="0" err="1" smtClean="0">
                <a:latin typeface="Century Gothic" panose="020B0502020202020204" pitchFamily="34" charset="0"/>
              </a:rPr>
              <a:t>gateway</a:t>
            </a:r>
            <a:r>
              <a:rPr lang="tr-TR" dirty="0" smtClean="0">
                <a:latin typeface="Century Gothic" panose="020B0502020202020204" pitchFamily="34" charset="0"/>
              </a:rPr>
              <a:t> </a:t>
            </a:r>
            <a:r>
              <a:rPr lang="tr-TR" dirty="0" err="1" smtClean="0">
                <a:latin typeface="Century Gothic" panose="020B0502020202020204" pitchFamily="34" charset="0"/>
              </a:rPr>
              <a:t>to</a:t>
            </a:r>
            <a:r>
              <a:rPr lang="tr-TR" dirty="0" smtClean="0">
                <a:latin typeface="Century Gothic" panose="020B0502020202020204" pitchFamily="34" charset="0"/>
              </a:rPr>
              <a:t> </a:t>
            </a:r>
            <a:r>
              <a:rPr lang="tr-TR" dirty="0" err="1" smtClean="0">
                <a:latin typeface="Century Gothic" panose="020B0502020202020204" pitchFamily="34" charset="0"/>
              </a:rPr>
              <a:t>the</a:t>
            </a:r>
            <a:r>
              <a:rPr lang="tr-TR" dirty="0" smtClean="0">
                <a:latin typeface="Century Gothic" panose="020B0502020202020204" pitchFamily="34" charset="0"/>
              </a:rPr>
              <a:t> </a:t>
            </a:r>
            <a:r>
              <a:rPr lang="tr-TR" dirty="0" err="1" smtClean="0">
                <a:latin typeface="Century Gothic" panose="020B0502020202020204" pitchFamily="34" charset="0"/>
              </a:rPr>
              <a:t>world</a:t>
            </a:r>
            <a:r>
              <a:rPr lang="tr-TR" dirty="0" smtClean="0">
                <a:latin typeface="Century Gothic" panose="020B0502020202020204" pitchFamily="34" charset="0"/>
              </a:rPr>
              <a:t> …</a:t>
            </a:r>
            <a:endParaRPr lang="en-US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0325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yagram 7"/>
          <p:cNvGraphicFramePr/>
          <p:nvPr>
            <p:extLst>
              <p:ext uri="{D42A27DB-BD31-4B8C-83A1-F6EECF244321}">
                <p14:modId xmlns:p14="http://schemas.microsoft.com/office/powerpoint/2010/main" val="162644042"/>
              </p:ext>
            </p:extLst>
          </p:nvPr>
        </p:nvGraphicFramePr>
        <p:xfrm>
          <a:off x="-36512" y="1412776"/>
          <a:ext cx="7416824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67544" y="476672"/>
            <a:ext cx="8183880" cy="648072"/>
          </a:xfrm>
        </p:spPr>
        <p:txBody>
          <a:bodyPr/>
          <a:lstStyle/>
          <a:p>
            <a:r>
              <a:rPr lang="tr-TR" dirty="0" err="1" smtClean="0">
                <a:latin typeface="Century Gothic" panose="020B0502020202020204" pitchFamily="34" charset="0"/>
              </a:rPr>
              <a:t>About</a:t>
            </a:r>
            <a:r>
              <a:rPr lang="tr-TR" dirty="0" smtClean="0">
                <a:latin typeface="Century Gothic" panose="020B0502020202020204" pitchFamily="34" charset="0"/>
              </a:rPr>
              <a:t> Us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1115616" y="4437112"/>
            <a:ext cx="4104456" cy="1599183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tr-TR" sz="1700" dirty="0" err="1" smtClean="0">
                <a:latin typeface="Century Gothic" panose="020B0502020202020204" pitchFamily="34" charset="0"/>
              </a:rPr>
              <a:t>China</a:t>
            </a:r>
            <a:r>
              <a:rPr lang="tr-TR" sz="1700" dirty="0" smtClean="0">
                <a:latin typeface="Century Gothic" panose="020B0502020202020204" pitchFamily="34" charset="0"/>
              </a:rPr>
              <a:t> </a:t>
            </a:r>
            <a:r>
              <a:rPr lang="tr-TR" sz="1700" dirty="0" err="1" smtClean="0">
                <a:latin typeface="Century Gothic" panose="020B0502020202020204" pitchFamily="34" charset="0"/>
              </a:rPr>
              <a:t>Representative</a:t>
            </a:r>
            <a:r>
              <a:rPr lang="tr-TR" sz="1700" dirty="0" smtClean="0">
                <a:latin typeface="Century Gothic" panose="020B0502020202020204" pitchFamily="34" charset="0"/>
              </a:rPr>
              <a:t> Office; 6 </a:t>
            </a:r>
            <a:r>
              <a:rPr lang="tr-TR" sz="1700" dirty="0" err="1" smtClean="0">
                <a:latin typeface="Century Gothic" panose="020B0502020202020204" pitchFamily="34" charset="0"/>
              </a:rPr>
              <a:t>people</a:t>
            </a:r>
            <a:endParaRPr lang="tr-TR" sz="1700" dirty="0" smtClean="0">
              <a:latin typeface="Century Gothic" panose="020B0502020202020204" pitchFamily="34" charset="0"/>
            </a:endParaRPr>
          </a:p>
          <a:p>
            <a:endParaRPr lang="tr-TR" sz="17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tr-TR" sz="1700" dirty="0" smtClean="0">
                <a:latin typeface="Century Gothic" panose="020B0502020202020204" pitchFamily="34" charset="0"/>
              </a:rPr>
              <a:t>Hong Kong </a:t>
            </a:r>
            <a:r>
              <a:rPr lang="tr-TR" sz="1700" dirty="0" err="1" smtClean="0">
                <a:latin typeface="Century Gothic" panose="020B0502020202020204" pitchFamily="34" charset="0"/>
              </a:rPr>
              <a:t>Warehouse</a:t>
            </a:r>
            <a:endParaRPr lang="tr-TR" sz="1700" dirty="0" smtClean="0">
              <a:latin typeface="Century Gothic" panose="020B0502020202020204" pitchFamily="34" charset="0"/>
            </a:endParaRPr>
          </a:p>
          <a:p>
            <a:endParaRPr lang="tr-TR" sz="1700" dirty="0">
              <a:latin typeface="Century Gothic" panose="020B0502020202020204" pitchFamily="34" charset="0"/>
            </a:endParaRPr>
          </a:p>
          <a:p>
            <a:pPr marL="0" indent="0">
              <a:buNone/>
            </a:pPr>
            <a:r>
              <a:rPr lang="tr-TR" sz="1700" dirty="0" smtClean="0">
                <a:latin typeface="Century Gothic" panose="020B0502020202020204" pitchFamily="34" charset="0"/>
              </a:rPr>
              <a:t>Kenya </a:t>
            </a:r>
            <a:r>
              <a:rPr lang="tr-TR" sz="1700" dirty="0" err="1" smtClean="0">
                <a:latin typeface="Century Gothic" panose="020B0502020202020204" pitchFamily="34" charset="0"/>
              </a:rPr>
              <a:t>Sales</a:t>
            </a:r>
            <a:r>
              <a:rPr lang="tr-TR" sz="1700" dirty="0" smtClean="0">
                <a:latin typeface="Century Gothic" panose="020B0502020202020204" pitchFamily="34" charset="0"/>
              </a:rPr>
              <a:t> Office; 2 </a:t>
            </a:r>
            <a:r>
              <a:rPr lang="tr-TR" sz="1700" dirty="0" err="1" smtClean="0">
                <a:latin typeface="Century Gothic" panose="020B0502020202020204" pitchFamily="34" charset="0"/>
              </a:rPr>
              <a:t>people</a:t>
            </a:r>
            <a:endParaRPr lang="en-US" sz="1700" dirty="0">
              <a:latin typeface="Century Gothic" panose="020B0502020202020204" pitchFamily="34" charset="0"/>
            </a:endParaRPr>
          </a:p>
          <a:p>
            <a:endParaRPr lang="tr-TR" sz="1800" dirty="0" smtClean="0"/>
          </a:p>
          <a:p>
            <a:endParaRPr lang="tr-TR" sz="2000" dirty="0"/>
          </a:p>
          <a:p>
            <a:endParaRPr lang="en-US" sz="2000" dirty="0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4</a:t>
            </a:fld>
            <a:endParaRPr lang="en-US"/>
          </a:p>
        </p:txBody>
      </p:sp>
      <p:sp>
        <p:nvSpPr>
          <p:cNvPr id="21" name="İçerik Yer Tutucusu 2"/>
          <p:cNvSpPr txBox="1">
            <a:spLocks/>
          </p:cNvSpPr>
          <p:nvPr/>
        </p:nvSpPr>
        <p:spPr>
          <a:xfrm>
            <a:off x="4932040" y="2060848"/>
            <a:ext cx="3744416" cy="799592"/>
          </a:xfrm>
          <a:prstGeom prst="rect">
            <a:avLst/>
          </a:prstGeom>
        </p:spPr>
        <p:txBody>
          <a:bodyPr vert="horz" lIns="182880" tIns="91440">
            <a:normAutofit/>
          </a:bodyPr>
          <a:lstStyle>
            <a:lvl1pPr marL="265176" indent="-265176" algn="l" rtl="0" eaLnBrk="1" latinLnBrk="0" hangingPunct="1">
              <a:spcBef>
                <a:spcPts val="250"/>
              </a:spcBef>
              <a:buClr>
                <a:schemeClr val="accent1"/>
              </a:buClr>
              <a:buSzPct val="80000"/>
              <a:buFont typeface="Wingdings 2"/>
              <a:buChar char=""/>
              <a:defRPr kumimoji="0" sz="2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48640" indent="-201168" algn="l" rtl="0" eaLnBrk="1" latinLnBrk="0" hangingPunct="1">
              <a:spcBef>
                <a:spcPts val="250"/>
              </a:spcBef>
              <a:buClr>
                <a:schemeClr val="accent1"/>
              </a:buClr>
              <a:buSzPct val="100000"/>
              <a:buFont typeface="Verdana"/>
              <a:buChar char="◦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6384" indent="-182880" algn="l" rtl="0" eaLnBrk="1" latinLnBrk="0" hangingPunct="1">
              <a:spcBef>
                <a:spcPts val="250"/>
              </a:spcBef>
              <a:buClr>
                <a:schemeClr val="accent2">
                  <a:tint val="85000"/>
                  <a:satMod val="285000"/>
                </a:schemeClr>
              </a:buClr>
              <a:buSzPct val="100000"/>
              <a:buFont typeface="Wingdings 2"/>
              <a:buChar char=""/>
              <a:defRPr kumimoji="0"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4128" indent="-182880" algn="l" rtl="0" eaLnBrk="1" latinLnBrk="0" hangingPunct="1">
              <a:spcBef>
                <a:spcPts val="230"/>
              </a:spcBef>
              <a:buClr>
                <a:schemeClr val="accent2">
                  <a:tint val="85000"/>
                  <a:satMod val="285000"/>
                </a:schemeClr>
              </a:buClr>
              <a:buSzPct val="112000"/>
              <a:buFont typeface="Verdana"/>
              <a:buChar char="◦"/>
              <a:defRPr kumimoji="0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rtl="0" eaLnBrk="1" latinLnBrk="0" hangingPunct="1">
              <a:spcBef>
                <a:spcPts val="250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90472" indent="-182880" algn="l" rtl="0" eaLnBrk="1" latinLnBrk="0" hangingPunct="1">
              <a:spcBef>
                <a:spcPts val="250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0784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0240" indent="-182880" algn="l" rtl="0" eaLnBrk="1" latinLnBrk="0" hangingPunct="1">
              <a:spcBef>
                <a:spcPts val="257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48840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lvl="0" indent="0">
              <a:buNone/>
            </a:pPr>
            <a:r>
              <a:rPr lang="en-US" sz="1700" dirty="0">
                <a:latin typeface="Century Gothic" panose="020B0502020202020204" pitchFamily="34" charset="0"/>
              </a:rPr>
              <a:t>2016 (March 2015- March 2016) </a:t>
            </a:r>
            <a:endParaRPr lang="tr-TR" sz="1700" dirty="0">
              <a:latin typeface="Century Gothic" panose="020B0502020202020204" pitchFamily="34" charset="0"/>
            </a:endParaRPr>
          </a:p>
          <a:p>
            <a:pPr marL="0" lvl="0" indent="0">
              <a:buNone/>
            </a:pPr>
            <a:r>
              <a:rPr lang="en-US" sz="1700" dirty="0" smtClean="0">
                <a:latin typeface="Century Gothic" panose="020B0502020202020204" pitchFamily="34" charset="0"/>
              </a:rPr>
              <a:t>Total </a:t>
            </a:r>
            <a:r>
              <a:rPr lang="en-US" sz="1700" dirty="0">
                <a:latin typeface="Century Gothic" panose="020B0502020202020204" pitchFamily="34" charset="0"/>
              </a:rPr>
              <a:t>Revenue </a:t>
            </a:r>
            <a:r>
              <a:rPr lang="en-US" sz="2000" b="1" i="1" dirty="0">
                <a:solidFill>
                  <a:srgbClr val="00B050"/>
                </a:solidFill>
                <a:latin typeface="Century Gothic" panose="020B0502020202020204" pitchFamily="34" charset="0"/>
              </a:rPr>
              <a:t>$5.8 Million USD</a:t>
            </a:r>
            <a:endParaRPr lang="tr-TR" sz="1700" b="1" i="1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endParaRPr lang="en-US" sz="2000" dirty="0"/>
          </a:p>
        </p:txBody>
      </p:sp>
      <p:sp>
        <p:nvSpPr>
          <p:cNvPr id="22" name="İçerik Yer Tutucusu 2"/>
          <p:cNvSpPr txBox="1">
            <a:spLocks/>
          </p:cNvSpPr>
          <p:nvPr/>
        </p:nvSpPr>
        <p:spPr>
          <a:xfrm>
            <a:off x="899592" y="1556792"/>
            <a:ext cx="3528392" cy="1599183"/>
          </a:xfrm>
          <a:prstGeom prst="rect">
            <a:avLst/>
          </a:prstGeom>
        </p:spPr>
        <p:txBody>
          <a:bodyPr vert="horz" lIns="182880" tIns="91440">
            <a:normAutofit fontScale="92500" lnSpcReduction="20000"/>
          </a:bodyPr>
          <a:lstStyle>
            <a:lvl1pPr marL="265176" indent="-265176" algn="l" rtl="0" eaLnBrk="1" latinLnBrk="0" hangingPunct="1">
              <a:spcBef>
                <a:spcPts val="250"/>
              </a:spcBef>
              <a:buClr>
                <a:schemeClr val="accent1"/>
              </a:buClr>
              <a:buSzPct val="80000"/>
              <a:buFont typeface="Wingdings 2"/>
              <a:buChar char=""/>
              <a:defRPr kumimoji="0" sz="28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48640" indent="-201168" algn="l" rtl="0" eaLnBrk="1" latinLnBrk="0" hangingPunct="1">
              <a:spcBef>
                <a:spcPts val="250"/>
              </a:spcBef>
              <a:buClr>
                <a:schemeClr val="accent1"/>
              </a:buClr>
              <a:buSzPct val="100000"/>
              <a:buFont typeface="Verdana"/>
              <a:buChar char="◦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6384" indent="-182880" algn="l" rtl="0" eaLnBrk="1" latinLnBrk="0" hangingPunct="1">
              <a:spcBef>
                <a:spcPts val="250"/>
              </a:spcBef>
              <a:buClr>
                <a:schemeClr val="accent2">
                  <a:tint val="85000"/>
                  <a:satMod val="285000"/>
                </a:schemeClr>
              </a:buClr>
              <a:buSzPct val="100000"/>
              <a:buFont typeface="Wingdings 2"/>
              <a:buChar char=""/>
              <a:defRPr kumimoji="0"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4128" indent="-182880" algn="l" rtl="0" eaLnBrk="1" latinLnBrk="0" hangingPunct="1">
              <a:spcBef>
                <a:spcPts val="230"/>
              </a:spcBef>
              <a:buClr>
                <a:schemeClr val="accent2">
                  <a:tint val="85000"/>
                  <a:satMod val="285000"/>
                </a:schemeClr>
              </a:buClr>
              <a:buSzPct val="112000"/>
              <a:buFont typeface="Verdana"/>
              <a:buChar char="◦"/>
              <a:defRPr kumimoji="0"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rtl="0" eaLnBrk="1" latinLnBrk="0" hangingPunct="1">
              <a:spcBef>
                <a:spcPts val="250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90472" indent="-182880" algn="l" rtl="0" eaLnBrk="1" latinLnBrk="0" hangingPunct="1">
              <a:spcBef>
                <a:spcPts val="250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0784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0240" indent="-182880" algn="l" rtl="0" eaLnBrk="1" latinLnBrk="0" hangingPunct="1">
              <a:spcBef>
                <a:spcPts val="257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48840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indent="0">
              <a:buNone/>
            </a:pPr>
            <a:r>
              <a:rPr lang="tr-TR" sz="1800" dirty="0" err="1" smtClean="0">
                <a:latin typeface="Century Gothic" panose="020B0502020202020204" pitchFamily="34" charset="0"/>
              </a:rPr>
              <a:t>Industries</a:t>
            </a:r>
            <a:r>
              <a:rPr lang="tr-TR" sz="1800" dirty="0" smtClean="0">
                <a:latin typeface="Century Gothic" panose="020B0502020202020204" pitchFamily="34" charset="0"/>
              </a:rPr>
              <a:t> </a:t>
            </a:r>
            <a:r>
              <a:rPr lang="tr-TR" sz="1800" dirty="0" err="1" smtClean="0">
                <a:latin typeface="Century Gothic" panose="020B0502020202020204" pitchFamily="34" charset="0"/>
              </a:rPr>
              <a:t>that</a:t>
            </a:r>
            <a:r>
              <a:rPr lang="tr-TR" sz="1800" dirty="0" smtClean="0">
                <a:latin typeface="Century Gothic" panose="020B0502020202020204" pitchFamily="34" charset="0"/>
              </a:rPr>
              <a:t> </a:t>
            </a:r>
            <a:r>
              <a:rPr lang="tr-TR" sz="1800" dirty="0" err="1" smtClean="0">
                <a:latin typeface="Century Gothic" panose="020B0502020202020204" pitchFamily="34" charset="0"/>
              </a:rPr>
              <a:t>we</a:t>
            </a:r>
            <a:r>
              <a:rPr lang="tr-TR" sz="1800" dirty="0" smtClean="0">
                <a:latin typeface="Century Gothic" panose="020B0502020202020204" pitchFamily="34" charset="0"/>
              </a:rPr>
              <a:t> </a:t>
            </a:r>
            <a:r>
              <a:rPr lang="tr-TR" sz="1800" dirty="0" err="1" smtClean="0">
                <a:latin typeface="Century Gothic" panose="020B0502020202020204" pitchFamily="34" charset="0"/>
              </a:rPr>
              <a:t>are</a:t>
            </a:r>
            <a:r>
              <a:rPr lang="tr-TR" sz="1800" dirty="0" smtClean="0">
                <a:latin typeface="Century Gothic" panose="020B0502020202020204" pitchFamily="34" charset="0"/>
              </a:rPr>
              <a:t> </a:t>
            </a:r>
            <a:r>
              <a:rPr lang="tr-TR" sz="1800" dirty="0" err="1" smtClean="0">
                <a:latin typeface="Century Gothic" panose="020B0502020202020204" pitchFamily="34" charset="0"/>
              </a:rPr>
              <a:t>active</a:t>
            </a:r>
            <a:r>
              <a:rPr lang="tr-TR" sz="1800" dirty="0" smtClean="0">
                <a:latin typeface="Century Gothic" panose="020B0502020202020204" pitchFamily="34" charset="0"/>
              </a:rPr>
              <a:t>;</a:t>
            </a:r>
          </a:p>
          <a:p>
            <a:pPr lvl="1"/>
            <a:r>
              <a:rPr lang="tr-TR" sz="1500" dirty="0" err="1" smtClean="0">
                <a:latin typeface="Century Gothic" panose="020B0502020202020204" pitchFamily="34" charset="0"/>
              </a:rPr>
              <a:t>Spare</a:t>
            </a:r>
            <a:r>
              <a:rPr lang="tr-TR" sz="1500" dirty="0" smtClean="0">
                <a:latin typeface="Century Gothic" panose="020B0502020202020204" pitchFamily="34" charset="0"/>
              </a:rPr>
              <a:t> </a:t>
            </a:r>
            <a:r>
              <a:rPr lang="tr-TR" sz="1500" dirty="0" err="1" smtClean="0">
                <a:latin typeface="Century Gothic" panose="020B0502020202020204" pitchFamily="34" charset="0"/>
              </a:rPr>
              <a:t>Parts</a:t>
            </a:r>
            <a:endParaRPr lang="tr-TR" sz="1500" dirty="0" smtClean="0">
              <a:latin typeface="Century Gothic" panose="020B0502020202020204" pitchFamily="34" charset="0"/>
            </a:endParaRPr>
          </a:p>
          <a:p>
            <a:pPr lvl="1"/>
            <a:r>
              <a:rPr lang="tr-TR" sz="1500" dirty="0" err="1" smtClean="0">
                <a:latin typeface="Century Gothic" panose="020B0502020202020204" pitchFamily="34" charset="0"/>
              </a:rPr>
              <a:t>Renewable</a:t>
            </a:r>
            <a:r>
              <a:rPr lang="tr-TR" sz="1500" dirty="0" smtClean="0">
                <a:latin typeface="Century Gothic" panose="020B0502020202020204" pitchFamily="34" charset="0"/>
              </a:rPr>
              <a:t> </a:t>
            </a:r>
            <a:r>
              <a:rPr lang="tr-TR" sz="1500" dirty="0" err="1" smtClean="0">
                <a:latin typeface="Century Gothic" panose="020B0502020202020204" pitchFamily="34" charset="0"/>
              </a:rPr>
              <a:t>Energy</a:t>
            </a:r>
            <a:endParaRPr lang="tr-TR" sz="1500" dirty="0" smtClean="0">
              <a:latin typeface="Century Gothic" panose="020B0502020202020204" pitchFamily="34" charset="0"/>
            </a:endParaRPr>
          </a:p>
          <a:p>
            <a:pPr lvl="1"/>
            <a:r>
              <a:rPr lang="tr-TR" sz="1500" dirty="0" smtClean="0">
                <a:latin typeface="Century Gothic" panose="020B0502020202020204" pitchFamily="34" charset="0"/>
              </a:rPr>
              <a:t>Auto </a:t>
            </a:r>
            <a:r>
              <a:rPr lang="tr-TR" sz="1500" dirty="0" err="1" smtClean="0">
                <a:latin typeface="Century Gothic" panose="020B0502020202020204" pitchFamily="34" charset="0"/>
              </a:rPr>
              <a:t>Electronics</a:t>
            </a:r>
            <a:endParaRPr lang="tr-TR" sz="1500" dirty="0" smtClean="0">
              <a:latin typeface="Century Gothic" panose="020B0502020202020204" pitchFamily="34" charset="0"/>
            </a:endParaRPr>
          </a:p>
          <a:p>
            <a:pPr lvl="1"/>
            <a:r>
              <a:rPr lang="tr-TR" sz="1500" dirty="0" err="1" smtClean="0">
                <a:latin typeface="Century Gothic" panose="020B0502020202020204" pitchFamily="34" charset="0"/>
              </a:rPr>
              <a:t>Tires</a:t>
            </a:r>
            <a:endParaRPr lang="tr-TR" sz="1500" dirty="0" smtClean="0">
              <a:latin typeface="Century Gothic" panose="020B0502020202020204" pitchFamily="34" charset="0"/>
            </a:endParaRPr>
          </a:p>
          <a:p>
            <a:pPr lvl="1"/>
            <a:r>
              <a:rPr lang="tr-TR" sz="1500" dirty="0" smtClean="0">
                <a:latin typeface="Century Gothic" panose="020B0502020202020204" pitchFamily="34" charset="0"/>
              </a:rPr>
              <a:t>Consumer </a:t>
            </a:r>
            <a:r>
              <a:rPr lang="tr-TR" sz="1500" dirty="0" err="1" smtClean="0">
                <a:latin typeface="Century Gothic" panose="020B0502020202020204" pitchFamily="34" charset="0"/>
              </a:rPr>
              <a:t>Electronics</a:t>
            </a:r>
            <a:endParaRPr lang="tr-TR" sz="1500" dirty="0" smtClean="0">
              <a:latin typeface="Century Gothic" panose="020B0502020202020204" pitchFamily="34" charset="0"/>
            </a:endParaRPr>
          </a:p>
          <a:p>
            <a:pPr lvl="1"/>
            <a:r>
              <a:rPr lang="tr-TR" sz="1500" dirty="0" err="1" smtClean="0">
                <a:latin typeface="Century Gothic" panose="020B0502020202020204" pitchFamily="34" charset="0"/>
              </a:rPr>
              <a:t>Logistics</a:t>
            </a:r>
            <a:endParaRPr lang="en-US" sz="1500" dirty="0" smtClean="0">
              <a:latin typeface="Century Gothic" panose="020B0502020202020204" pitchFamily="34" charset="0"/>
            </a:endParaRPr>
          </a:p>
          <a:p>
            <a:endParaRPr lang="tr-TR" sz="1800" dirty="0" smtClean="0"/>
          </a:p>
          <a:p>
            <a:endParaRPr lang="tr-TR" sz="2000" dirty="0" smtClean="0"/>
          </a:p>
          <a:p>
            <a:endParaRPr lang="en-US" sz="2000" dirty="0"/>
          </a:p>
        </p:txBody>
      </p:sp>
      <p:pic>
        <p:nvPicPr>
          <p:cNvPr id="1026" name="Picture 2" descr="C:\Users\Berkin\Desktop\Forcemac PPT\growing business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3289" b="13226"/>
          <a:stretch/>
        </p:blipFill>
        <p:spPr bwMode="auto">
          <a:xfrm>
            <a:off x="5466530" y="4653136"/>
            <a:ext cx="3315519" cy="1239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12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060" y="620688"/>
            <a:ext cx="8183880" cy="691520"/>
          </a:xfrm>
        </p:spPr>
        <p:txBody>
          <a:bodyPr/>
          <a:lstStyle/>
          <a:p>
            <a:pPr marL="0" lvl="8" indent="0">
              <a:spcBef>
                <a:spcPts val="250"/>
              </a:spcBef>
            </a:pPr>
            <a:r>
              <a:rPr lang="tr-TR" sz="3600" b="1" kern="1200" dirty="0" err="1" smtClean="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Century Gothic" panose="020B0502020202020204" pitchFamily="34" charset="0"/>
                <a:ea typeface="+mj-ea"/>
                <a:cs typeface="+mj-cs"/>
              </a:rPr>
              <a:t>Our</a:t>
            </a:r>
            <a:r>
              <a:rPr lang="tr-TR" sz="3600" b="1" kern="1200" dirty="0" smtClean="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Century Gothic" panose="020B0502020202020204" pitchFamily="34" charset="0"/>
                <a:ea typeface="+mj-ea"/>
                <a:cs typeface="+mj-cs"/>
              </a:rPr>
              <a:t> Services</a:t>
            </a:r>
            <a:endParaRPr lang="en-US" sz="3600" b="1" kern="1200" dirty="0">
              <a:solidFill>
                <a:schemeClr val="accent1">
                  <a:tint val="88000"/>
                  <a:satMod val="150000"/>
                </a:schemeClr>
              </a:solidFill>
              <a:effectLst>
                <a:outerShdw blurRad="53975" dist="22860" dir="5400000" algn="tl" rotWithShape="0">
                  <a:srgbClr val="000000">
                    <a:alpha val="55000"/>
                  </a:srgbClr>
                </a:outerShdw>
              </a:effectLst>
              <a:latin typeface="Century Gothic" panose="020B0502020202020204" pitchFamily="34" charset="0"/>
              <a:ea typeface="+mj-ea"/>
              <a:cs typeface="+mj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Century Gothic" panose="020B0502020202020204" pitchFamily="34" charset="0"/>
              </a:rPr>
              <a:t>Copyright © 2016 Forcemac  </a:t>
            </a:r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>
                <a:latin typeface="Century Gothic" panose="020B0502020202020204" pitchFamily="34" charset="0"/>
              </a:rPr>
              <a:t>5</a:t>
            </a:fld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7" name="Rounded Rectangle 23"/>
          <p:cNvSpPr/>
          <p:nvPr>
            <p:custDataLst>
              <p:tags r:id="rId1"/>
            </p:custDataLst>
          </p:nvPr>
        </p:nvSpPr>
        <p:spPr>
          <a:xfrm>
            <a:off x="4644008" y="2578719"/>
            <a:ext cx="1512168" cy="3131944"/>
          </a:xfrm>
          <a:prstGeom prst="roundRect">
            <a:avLst>
              <a:gd name="adj" fmla="val 416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91440" rIns="3600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Ordering</a:t>
            </a:r>
            <a:endParaRPr lang="en-US" sz="8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Quotations</a:t>
            </a:r>
            <a:endParaRPr lang="tr-TR" sz="10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Dealing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bout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the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price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nd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quantity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Delivery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details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On-time schedule</a:t>
            </a:r>
            <a:endParaRPr lang="en-US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Daily follow-ups order process.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sz="105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1809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sz="105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</p:txBody>
      </p:sp>
      <p:sp>
        <p:nvSpPr>
          <p:cNvPr id="8" name="Rounded Rectangle 24"/>
          <p:cNvSpPr/>
          <p:nvPr>
            <p:custDataLst>
              <p:tags r:id="rId2"/>
            </p:custDataLst>
          </p:nvPr>
        </p:nvSpPr>
        <p:spPr>
          <a:xfrm>
            <a:off x="3137393" y="2587103"/>
            <a:ext cx="1434607" cy="3131944"/>
          </a:xfrm>
          <a:prstGeom prst="roundRect">
            <a:avLst>
              <a:gd name="adj" fmla="val 416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91440" rIns="3600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tr-TR" sz="1100" b="1" u="sng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eport</a:t>
            </a:r>
            <a:endParaRPr lang="en-US" sz="1100" b="1" u="sng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Technical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nalysis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of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factory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nd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production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tages</a:t>
            </a:r>
            <a:endParaRPr lang="tr-TR" sz="10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Quality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ontrol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nd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testing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Product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portfolio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esearch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eference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heck</a:t>
            </a:r>
            <a:endParaRPr lang="tr-TR" sz="10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sz="105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</p:txBody>
      </p:sp>
      <p:sp>
        <p:nvSpPr>
          <p:cNvPr id="9" name="Rounded Rectangle 25"/>
          <p:cNvSpPr/>
          <p:nvPr>
            <p:custDataLst>
              <p:tags r:id="rId3"/>
            </p:custDataLst>
          </p:nvPr>
        </p:nvSpPr>
        <p:spPr>
          <a:xfrm>
            <a:off x="1564453" y="2587103"/>
            <a:ext cx="1495379" cy="3131944"/>
          </a:xfrm>
          <a:prstGeom prst="roundRect">
            <a:avLst>
              <a:gd name="adj" fmla="val 416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91440" rIns="3600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Factory</a:t>
            </a:r>
            <a:r>
              <a:rPr lang="tr-TR" sz="1100" b="1" u="sng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Visits</a:t>
            </a:r>
            <a:r>
              <a:rPr lang="tr-TR" sz="1100" b="1" u="sng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Before</a:t>
            </a:r>
            <a:r>
              <a:rPr lang="tr-TR" sz="1100" b="1" u="sng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Order</a:t>
            </a:r>
            <a:endParaRPr lang="en-US" sz="6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Face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to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face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ontact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with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dealers</a:t>
            </a:r>
            <a:endParaRPr lang="en-US" sz="10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marR="0" indent="-18097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Deepened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elations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between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upply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nd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demand</a:t>
            </a:r>
            <a:endParaRPr lang="en-US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marR="0" indent="-18097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eal time information available</a:t>
            </a: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Notifications and reminders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180975" marR="0" indent="-180975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</a:pPr>
            <a:endParaRPr kumimoji="0" lang="en-US" sz="105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0" name="Rounded Rectangle 26"/>
          <p:cNvSpPr/>
          <p:nvPr>
            <p:custDataLst>
              <p:tags r:id="rId4"/>
            </p:custDataLst>
          </p:nvPr>
        </p:nvSpPr>
        <p:spPr>
          <a:xfrm>
            <a:off x="35496" y="2587103"/>
            <a:ext cx="1486096" cy="3131944"/>
          </a:xfrm>
          <a:prstGeom prst="roundRect">
            <a:avLst>
              <a:gd name="adj" fmla="val 416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91440" rIns="3600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ourcing</a:t>
            </a:r>
            <a:r>
              <a:rPr lang="tr-TR" sz="1100" b="1" u="sng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&amp; </a:t>
            </a: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esearch</a:t>
            </a:r>
            <a:endParaRPr lang="en-US" sz="8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Enhancing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global </a:t>
            </a:r>
            <a:r>
              <a:rPr lang="en-US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efficiencies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by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providing </a:t>
            </a:r>
            <a:r>
              <a:rPr lang="en-US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large scale of products and </a:t>
            </a: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ervices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.</a:t>
            </a: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</a:t>
            </a:r>
            <a:r>
              <a:rPr lang="en-US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olutions</a:t>
            </a: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en-US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with </a:t>
            </a:r>
            <a:r>
              <a:rPr lang="en-US" sz="1000" b="1" i="1" u="sng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killed labor</a:t>
            </a:r>
            <a:r>
              <a:rPr lang="en-US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, </a:t>
            </a:r>
            <a:r>
              <a:rPr lang="en-US" sz="1000" b="1" i="1" u="sng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low cost raw material </a:t>
            </a:r>
            <a:r>
              <a:rPr lang="en-US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nd advantages on other economic factors like </a:t>
            </a:r>
            <a:r>
              <a:rPr lang="en-US" sz="1000" b="1" i="1" u="sng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tax breaks and low trade tariffs</a:t>
            </a:r>
            <a:r>
              <a:rPr lang="en-US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.</a:t>
            </a:r>
            <a:endParaRPr lang="en-US" sz="10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</p:txBody>
      </p:sp>
      <p:sp>
        <p:nvSpPr>
          <p:cNvPr id="11" name="Rounded Rectangle 10"/>
          <p:cNvSpPr/>
          <p:nvPr>
            <p:custDataLst>
              <p:tags r:id="rId5"/>
            </p:custDataLst>
          </p:nvPr>
        </p:nvSpPr>
        <p:spPr>
          <a:xfrm>
            <a:off x="6228184" y="2578719"/>
            <a:ext cx="1512168" cy="3131944"/>
          </a:xfrm>
          <a:prstGeom prst="roundRect">
            <a:avLst>
              <a:gd name="adj" fmla="val 416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91440" rIns="3600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Inspection</a:t>
            </a:r>
            <a:r>
              <a:rPr lang="tr-TR" sz="1100" b="1" u="sng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&amp;</a:t>
            </a:r>
            <a:r>
              <a:rPr lang="tr-TR" sz="1100" b="1" u="sng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hipment</a:t>
            </a:r>
            <a:endParaRPr lang="en-US" sz="8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 defTabSz="914400" fontAlgn="auto">
              <a:spcBef>
                <a:spcPts val="60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lose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tracking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of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end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products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fter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production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Uninterrupted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flow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of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information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bout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the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hipment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ailway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,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ir</a:t>
            </a:r>
            <a:r>
              <a:rPr lang="tr-TR" sz="1000" kern="0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argo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,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ocean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freight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shipments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vailable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upon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ustomer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preferences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and</a:t>
            </a:r>
            <a:r>
              <a:rPr lang="tr-TR" sz="100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0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egulation</a:t>
            </a:r>
            <a:endParaRPr lang="tr-TR" sz="100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endParaRPr lang="en-US" sz="1050" kern="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Right Arrow 3"/>
          <p:cNvSpPr/>
          <p:nvPr>
            <p:custDataLst>
              <p:tags r:id="rId6"/>
            </p:custDataLst>
          </p:nvPr>
        </p:nvSpPr>
        <p:spPr>
          <a:xfrm rot="5400000">
            <a:off x="646950" y="2056995"/>
            <a:ext cx="440856" cy="799668"/>
          </a:xfrm>
          <a:prstGeom prst="rightArrow">
            <a:avLst>
              <a:gd name="adj1" fmla="val 72547"/>
              <a:gd name="adj2" fmla="val 50000"/>
            </a:avLst>
          </a:prstGeom>
          <a:solidFill>
            <a:schemeClr val="bg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endParaRPr lang="tr-TR" sz="2000" b="1" kern="0" dirty="0">
              <a:latin typeface="Century Gothic" panose="020B0502020202020204" pitchFamily="34" charset="0"/>
            </a:endParaRPr>
          </a:p>
        </p:txBody>
      </p:sp>
      <p:sp>
        <p:nvSpPr>
          <p:cNvPr id="13" name="Right Arrow 16"/>
          <p:cNvSpPr/>
          <p:nvPr>
            <p:custDataLst>
              <p:tags r:id="rId7"/>
            </p:custDataLst>
          </p:nvPr>
        </p:nvSpPr>
        <p:spPr>
          <a:xfrm rot="5400000">
            <a:off x="2163722" y="2103378"/>
            <a:ext cx="440856" cy="799668"/>
          </a:xfrm>
          <a:prstGeom prst="rightArrow">
            <a:avLst>
              <a:gd name="adj1" fmla="val 72547"/>
              <a:gd name="adj2" fmla="val 50000"/>
            </a:avLst>
          </a:prstGeom>
          <a:solidFill>
            <a:schemeClr val="bg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endParaRPr lang="tr-TR" sz="2000" b="1" kern="0" dirty="0">
              <a:latin typeface="Century Gothic" panose="020B0502020202020204" pitchFamily="34" charset="0"/>
            </a:endParaRPr>
          </a:p>
        </p:txBody>
      </p:sp>
      <p:sp>
        <p:nvSpPr>
          <p:cNvPr id="14" name="Right Arrow 17"/>
          <p:cNvSpPr/>
          <p:nvPr>
            <p:custDataLst>
              <p:tags r:id="rId8"/>
            </p:custDataLst>
          </p:nvPr>
        </p:nvSpPr>
        <p:spPr>
          <a:xfrm rot="5400000">
            <a:off x="3671286" y="2094474"/>
            <a:ext cx="440856" cy="799668"/>
          </a:xfrm>
          <a:prstGeom prst="rightArrow">
            <a:avLst>
              <a:gd name="adj1" fmla="val 72547"/>
              <a:gd name="adj2" fmla="val 50000"/>
            </a:avLst>
          </a:prstGeom>
          <a:solidFill>
            <a:schemeClr val="bg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endParaRPr lang="tr-TR" sz="2000" b="1" kern="0" dirty="0">
              <a:latin typeface="Century Gothic" panose="020B0502020202020204" pitchFamily="34" charset="0"/>
            </a:endParaRPr>
          </a:p>
        </p:txBody>
      </p:sp>
      <p:sp>
        <p:nvSpPr>
          <p:cNvPr id="15" name="Right Arrow 18"/>
          <p:cNvSpPr/>
          <p:nvPr>
            <p:custDataLst>
              <p:tags r:id="rId9"/>
            </p:custDataLst>
          </p:nvPr>
        </p:nvSpPr>
        <p:spPr>
          <a:xfrm rot="5400000">
            <a:off x="5183454" y="2094474"/>
            <a:ext cx="440856" cy="799668"/>
          </a:xfrm>
          <a:prstGeom prst="rightArrow">
            <a:avLst>
              <a:gd name="adj1" fmla="val 72547"/>
              <a:gd name="adj2" fmla="val 50000"/>
            </a:avLst>
          </a:prstGeom>
          <a:solidFill>
            <a:schemeClr val="bg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endParaRPr lang="tr-TR" sz="2000" b="1" kern="0" dirty="0">
              <a:latin typeface="Century Gothic" panose="020B0502020202020204" pitchFamily="34" charset="0"/>
            </a:endParaRPr>
          </a:p>
        </p:txBody>
      </p:sp>
      <p:sp>
        <p:nvSpPr>
          <p:cNvPr id="16" name="Right Arrow 19"/>
          <p:cNvSpPr/>
          <p:nvPr>
            <p:custDataLst>
              <p:tags r:id="rId10"/>
            </p:custDataLst>
          </p:nvPr>
        </p:nvSpPr>
        <p:spPr>
          <a:xfrm rot="5400000">
            <a:off x="6767630" y="2103378"/>
            <a:ext cx="440856" cy="799668"/>
          </a:xfrm>
          <a:prstGeom prst="rightArrow">
            <a:avLst>
              <a:gd name="adj1" fmla="val 72547"/>
              <a:gd name="adj2" fmla="val 50000"/>
            </a:avLst>
          </a:prstGeom>
          <a:solidFill>
            <a:schemeClr val="bg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endParaRPr lang="tr-TR" sz="2000" b="1" kern="0" dirty="0">
              <a:latin typeface="Century Gothic" panose="020B0502020202020204" pitchFamily="34" charset="0"/>
            </a:endParaRPr>
          </a:p>
        </p:txBody>
      </p:sp>
      <p:sp>
        <p:nvSpPr>
          <p:cNvPr id="17" name="Rounded Rectangle 13"/>
          <p:cNvSpPr/>
          <p:nvPr>
            <p:custDataLst>
              <p:tags r:id="rId11"/>
            </p:custDataLst>
          </p:nvPr>
        </p:nvSpPr>
        <p:spPr>
          <a:xfrm>
            <a:off x="205584" y="1556792"/>
            <a:ext cx="8732833" cy="772733"/>
          </a:xfrm>
          <a:prstGeom prst="roundRect">
            <a:avLst>
              <a:gd name="adj" fmla="val 12500"/>
            </a:avLst>
          </a:prstGeom>
          <a:solidFill>
            <a:schemeClr val="bg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r>
              <a:rPr lang="en-US" sz="1600" b="1" kern="0" dirty="0">
                <a:latin typeface="Century Gothic" panose="020B0502020202020204" pitchFamily="34" charset="0"/>
              </a:rPr>
              <a:t>Value Propositions</a:t>
            </a:r>
          </a:p>
        </p:txBody>
      </p:sp>
      <p:sp>
        <p:nvSpPr>
          <p:cNvPr id="18" name="Rounded Rectangle 10"/>
          <p:cNvSpPr/>
          <p:nvPr>
            <p:custDataLst>
              <p:tags r:id="rId12"/>
            </p:custDataLst>
          </p:nvPr>
        </p:nvSpPr>
        <p:spPr>
          <a:xfrm>
            <a:off x="7812360" y="2587103"/>
            <a:ext cx="1259631" cy="3131944"/>
          </a:xfrm>
          <a:prstGeom prst="roundRect">
            <a:avLst>
              <a:gd name="adj" fmla="val 4167"/>
            </a:avLst>
          </a:prstGeom>
          <a:solidFill>
            <a:schemeClr val="bg1">
              <a:lumMod val="95000"/>
            </a:schemeClr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36000" tIns="91440" rIns="36000" bIns="9144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</a:rPr>
              <a:t>Custom</a:t>
            </a:r>
            <a:r>
              <a:rPr lang="tr-TR" sz="1100" b="1" u="sng" kern="0" dirty="0" smtClean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tr-TR" sz="1100" b="1" u="sng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learence</a:t>
            </a:r>
            <a:endParaRPr lang="en-US" sz="800" kern="0" dirty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5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Documentation</a:t>
            </a:r>
            <a:r>
              <a:rPr lang="tr-TR" sz="105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5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required</a:t>
            </a:r>
            <a:r>
              <a:rPr lang="tr-TR" sz="105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5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by</a:t>
            </a:r>
            <a:r>
              <a:rPr lang="tr-TR" sz="105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5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the</a:t>
            </a:r>
            <a:r>
              <a:rPr lang="tr-TR" sz="105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5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ustoms</a:t>
            </a:r>
            <a:endParaRPr lang="tr-TR" sz="105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r>
              <a:rPr lang="tr-TR" sz="105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Warranty</a:t>
            </a:r>
            <a:r>
              <a:rPr lang="tr-TR" sz="105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on </a:t>
            </a:r>
            <a:r>
              <a:rPr lang="tr-TR" sz="105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custom</a:t>
            </a:r>
            <a:r>
              <a:rPr lang="tr-TR" sz="1050" kern="0" dirty="0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 </a:t>
            </a:r>
            <a:r>
              <a:rPr lang="tr-TR" sz="1050" kern="0" dirty="0" err="1" smtClean="0">
                <a:solidFill>
                  <a:srgbClr val="000000"/>
                </a:solidFill>
                <a:latin typeface="Century Gothic" panose="020B0502020202020204" pitchFamily="34" charset="0"/>
                <a:cs typeface="Times New Roman" pitchFamily="18" charset="0"/>
              </a:rPr>
              <a:t>inspections</a:t>
            </a:r>
            <a:endParaRPr lang="tr-TR" sz="1050" kern="0" dirty="0" smtClean="0">
              <a:solidFill>
                <a:srgbClr val="000000"/>
              </a:solidFill>
              <a:latin typeface="Century Gothic" panose="020B0502020202020204" pitchFamily="34" charset="0"/>
              <a:cs typeface="Times New Roman" pitchFamily="18" charset="0"/>
            </a:endParaRPr>
          </a:p>
          <a:p>
            <a:pPr marL="269875" indent="-180975">
              <a:spcBef>
                <a:spcPts val="600"/>
              </a:spcBef>
              <a:buFont typeface="Wingdings" pitchFamily="2" charset="2"/>
              <a:buChar char="§"/>
            </a:pPr>
            <a:endParaRPr lang="en-US" sz="1050" kern="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ight Arrow 19"/>
          <p:cNvSpPr/>
          <p:nvPr>
            <p:custDataLst>
              <p:tags r:id="rId13"/>
            </p:custDataLst>
          </p:nvPr>
        </p:nvSpPr>
        <p:spPr>
          <a:xfrm rot="5400000">
            <a:off x="8159152" y="2126749"/>
            <a:ext cx="394115" cy="799668"/>
          </a:xfrm>
          <a:prstGeom prst="rightArrow">
            <a:avLst>
              <a:gd name="adj1" fmla="val 72547"/>
              <a:gd name="adj2" fmla="val 50000"/>
            </a:avLst>
          </a:prstGeom>
          <a:solidFill>
            <a:schemeClr val="bg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</a:ln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txBody>
          <a:bodyPr rot="0" spcFirstLastPara="0" vertOverflow="overflow" horzOverflow="overflow" vert="horz" wrap="non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600"/>
              </a:spcBef>
              <a:spcAft>
                <a:spcPts val="0"/>
              </a:spcAft>
            </a:pPr>
            <a:endParaRPr lang="tr-TR" sz="2000" b="1" kern="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587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Berkin\AppData\Roaming\Skype\My Skype Received Files\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808" y="0"/>
            <a:ext cx="4639192" cy="335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Berkin\AppData\Roaming\Skype\My Skype Received Files\22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4808" y="3356992"/>
            <a:ext cx="4639192" cy="3501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Berkin\AppData\Roaming\Skype\My Skype Received Files\44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504808" cy="3356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Berkin\AppData\Roaming\Skype\My Skype Received Files\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356992"/>
            <a:ext cx="4504809" cy="348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2524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0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0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0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7</a:t>
            </a:fld>
            <a:endParaRPr lang="en-US"/>
          </a:p>
        </p:txBody>
      </p:sp>
      <p:sp>
        <p:nvSpPr>
          <p:cNvPr id="6" name="TextBox 11"/>
          <p:cNvSpPr txBox="1">
            <a:spLocks noChangeArrowheads="1"/>
          </p:cNvSpPr>
          <p:nvPr/>
        </p:nvSpPr>
        <p:spPr bwMode="auto">
          <a:xfrm>
            <a:off x="602656" y="2629846"/>
            <a:ext cx="418536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dirty="0"/>
              <a:t> </a:t>
            </a:r>
            <a:r>
              <a:rPr lang="en-US" b="1" dirty="0" smtClean="0">
                <a:ea typeface="Microsoft YaHei" pitchFamily="34" charset="-122"/>
              </a:rPr>
              <a:t>Cooperate Construction Companies</a:t>
            </a:r>
            <a:endParaRPr lang="en-US" dirty="0"/>
          </a:p>
        </p:txBody>
      </p:sp>
      <p:sp>
        <p:nvSpPr>
          <p:cNvPr id="7" name="TextBox 12"/>
          <p:cNvSpPr txBox="1">
            <a:spLocks noChangeArrowheads="1"/>
          </p:cNvSpPr>
          <p:nvPr/>
        </p:nvSpPr>
        <p:spPr bwMode="auto">
          <a:xfrm>
            <a:off x="4356100" y="4644913"/>
            <a:ext cx="6477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endParaRPr lang="en-US" dirty="0"/>
          </a:p>
        </p:txBody>
      </p:sp>
      <p:sp>
        <p:nvSpPr>
          <p:cNvPr id="8" name="TextBox 13"/>
          <p:cNvSpPr txBox="1">
            <a:spLocks noChangeArrowheads="1"/>
          </p:cNvSpPr>
          <p:nvPr/>
        </p:nvSpPr>
        <p:spPr bwMode="auto">
          <a:xfrm>
            <a:off x="5003354" y="2629846"/>
            <a:ext cx="374511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r>
              <a:rPr lang="en-US" dirty="0"/>
              <a:t> </a:t>
            </a:r>
            <a:r>
              <a:rPr lang="en-US" b="1" dirty="0" smtClean="0">
                <a:ea typeface="Microsoft YaHei" pitchFamily="34" charset="-122"/>
              </a:rPr>
              <a:t>Reseller &amp; Factory &amp; Aftersales</a:t>
            </a:r>
            <a:endParaRPr lang="en-US" dirty="0"/>
          </a:p>
        </p:txBody>
      </p:sp>
      <p:cxnSp>
        <p:nvCxnSpPr>
          <p:cNvPr id="9" name="直接箭头连接符 37"/>
          <p:cNvCxnSpPr/>
          <p:nvPr/>
        </p:nvCxnSpPr>
        <p:spPr>
          <a:xfrm flipV="1">
            <a:off x="2889324" y="2060848"/>
            <a:ext cx="468312" cy="5795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39"/>
          <p:cNvCxnSpPr/>
          <p:nvPr/>
        </p:nvCxnSpPr>
        <p:spPr>
          <a:xfrm flipH="1" flipV="1">
            <a:off x="5912570" y="2060848"/>
            <a:ext cx="531094" cy="57958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C:\Users\Berkin\Desktop\Forcemac\Forcemac Logo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480" y="1120577"/>
            <a:ext cx="3112939" cy="108012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C:\Users\burak\Desktop\PPT\dogus_insaat_ust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018" y="2999179"/>
            <a:ext cx="4114336" cy="1478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Users\burak\Desktop\PPT\gulsan_ust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727" y="4598350"/>
            <a:ext cx="3977435" cy="1350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C:\Users\burak\Desktop\PPT\logo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24" y="4591736"/>
            <a:ext cx="1448602" cy="422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burak\Desktop\PPT\sdl.com.t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271" y="4706744"/>
            <a:ext cx="1847638" cy="673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C:\Users\burak\Desktop\PPT\Renault_logo.svg (1)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797" y="2973956"/>
            <a:ext cx="999518" cy="964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7" descr="C:\Users\burak\Desktop\PPT\Media_Markt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526" y="3010676"/>
            <a:ext cx="2280713" cy="354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8" descr="C:\Users\burak\Desktop\PPT\maxresdefault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3376" y="4285437"/>
            <a:ext cx="1439863" cy="809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" descr="C:\Users\burak\Desktop\PPT\otokar-kazakistanda-zirhli-arac-uretecek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271" y="3938634"/>
            <a:ext cx="1086569" cy="697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0" descr="C:\Users\burak\Desktop\PPT\bmc,-toplu-tasimaciligin-bulusma-noktasi-busworld-fuarinda-izmir-01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513" y="3456295"/>
            <a:ext cx="1465945" cy="831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3" descr="C:\Users\burak\Desktop\PPT\Nissan-logo.svg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6126" y="3456295"/>
            <a:ext cx="849108" cy="73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4" descr="C:\Users\burak\Desktop\PPT\temsa_global_sanayi_ve_ticaret_a_s-300x200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0345" y="4288990"/>
            <a:ext cx="797066" cy="377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377855" y="429057"/>
            <a:ext cx="8183880" cy="691520"/>
          </a:xfrm>
        </p:spPr>
        <p:txBody>
          <a:bodyPr>
            <a:normAutofit/>
          </a:bodyPr>
          <a:lstStyle/>
          <a:p>
            <a:pPr marL="0" lvl="8" indent="0" algn="ctr">
              <a:spcBef>
                <a:spcPts val="250"/>
              </a:spcBef>
            </a:pPr>
            <a:r>
              <a:rPr lang="tr-TR" sz="3200" b="1" kern="1200" dirty="0" err="1" smtClean="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rPr>
              <a:t>Customer</a:t>
            </a:r>
            <a:r>
              <a:rPr lang="tr-TR" sz="3200" b="1" kern="1200" dirty="0" smtClean="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tr-TR" sz="3200" b="1" kern="1200" dirty="0" err="1" smtClean="0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+mj-lt"/>
                <a:ea typeface="+mj-ea"/>
                <a:cs typeface="+mj-cs"/>
              </a:rPr>
              <a:t>Overview</a:t>
            </a:r>
            <a:endParaRPr lang="en-US" sz="3200" b="1" kern="1200" dirty="0">
              <a:solidFill>
                <a:schemeClr val="accent1">
                  <a:tint val="88000"/>
                  <a:satMod val="150000"/>
                </a:schemeClr>
              </a:solidFill>
              <a:effectLst>
                <a:outerShdw blurRad="53975" dist="22860" dir="5400000" algn="tl" rotWithShape="0">
                  <a:srgbClr val="000000">
                    <a:alpha val="55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026" name="Picture 2" descr="C:\Users\Berkin\Desktop\borusan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7411" y="5163522"/>
            <a:ext cx="1475828" cy="703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Berkin\Desktop\kolin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1796" y="5440188"/>
            <a:ext cx="1804113" cy="427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8429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Yuvarlatılmış Dikdörtgen 2"/>
          <p:cNvSpPr/>
          <p:nvPr/>
        </p:nvSpPr>
        <p:spPr>
          <a:xfrm>
            <a:off x="395537" y="4365103"/>
            <a:ext cx="3528391" cy="1532273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67544" y="476672"/>
            <a:ext cx="8183880" cy="576064"/>
          </a:xfrm>
        </p:spPr>
        <p:txBody>
          <a:bodyPr>
            <a:normAutofit fontScale="90000"/>
          </a:bodyPr>
          <a:lstStyle/>
          <a:p>
            <a:pPr algn="ctr"/>
            <a:r>
              <a:rPr lang="tr-TR" sz="3200" dirty="0">
                <a:latin typeface="Century Gothic" panose="020B0502020202020204" pitchFamily="34" charset="0"/>
              </a:rPr>
              <a:t>Product</a:t>
            </a:r>
            <a:r>
              <a:rPr lang="tr-TR" dirty="0" smtClean="0">
                <a:latin typeface="Century Gothic" panose="020B0502020202020204" pitchFamily="34" charset="0"/>
              </a:rPr>
              <a:t> </a:t>
            </a:r>
            <a:r>
              <a:rPr lang="tr-TR" sz="3200" dirty="0" err="1">
                <a:latin typeface="Century Gothic" panose="020B0502020202020204" pitchFamily="34" charset="0"/>
              </a:rPr>
              <a:t>Overview</a:t>
            </a:r>
            <a:endParaRPr lang="en-US" sz="3200" dirty="0">
              <a:latin typeface="Century Gothic" panose="020B0502020202020204" pitchFamily="34" charset="0"/>
            </a:endParaRPr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latin typeface="Century Gothic" panose="020B0502020202020204" pitchFamily="34" charset="0"/>
              </a:rPr>
              <a:t>Copyright © 2016 Forcemac  </a:t>
            </a:r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>
                <a:latin typeface="Century Gothic" panose="020B0502020202020204" pitchFamily="34" charset="0"/>
              </a:rPr>
              <a:t>8</a:t>
            </a:fld>
            <a:endParaRPr lang="en-US">
              <a:latin typeface="Century Gothic" panose="020B0502020202020204" pitchFamily="34" charset="0"/>
            </a:endParaRPr>
          </a:p>
        </p:txBody>
      </p:sp>
      <p:graphicFrame>
        <p:nvGraphicFramePr>
          <p:cNvPr id="6" name="Diyagram 5"/>
          <p:cNvGraphicFramePr/>
          <p:nvPr>
            <p:extLst>
              <p:ext uri="{D42A27DB-BD31-4B8C-83A1-F6EECF244321}">
                <p14:modId xmlns:p14="http://schemas.microsoft.com/office/powerpoint/2010/main" val="568399756"/>
              </p:ext>
            </p:extLst>
          </p:nvPr>
        </p:nvGraphicFramePr>
        <p:xfrm>
          <a:off x="2251143" y="1010777"/>
          <a:ext cx="4752528" cy="2376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7" name="Düz Bağlayıcı 6"/>
          <p:cNvCxnSpPr/>
          <p:nvPr/>
        </p:nvCxnSpPr>
        <p:spPr>
          <a:xfrm>
            <a:off x="395537" y="3319660"/>
            <a:ext cx="280831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Düz Bağlayıcı 7"/>
          <p:cNvCxnSpPr/>
          <p:nvPr/>
        </p:nvCxnSpPr>
        <p:spPr>
          <a:xfrm>
            <a:off x="3218692" y="3023244"/>
            <a:ext cx="0" cy="2964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Düz Bağlayıcı 8"/>
          <p:cNvCxnSpPr/>
          <p:nvPr/>
        </p:nvCxnSpPr>
        <p:spPr>
          <a:xfrm>
            <a:off x="1422488" y="3337242"/>
            <a:ext cx="0" cy="21479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Düz Bağlayıcı 9"/>
          <p:cNvCxnSpPr/>
          <p:nvPr/>
        </p:nvCxnSpPr>
        <p:spPr>
          <a:xfrm>
            <a:off x="2502608" y="3331817"/>
            <a:ext cx="0" cy="2516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Düz Bağlayıcı 10"/>
          <p:cNvCxnSpPr/>
          <p:nvPr/>
        </p:nvCxnSpPr>
        <p:spPr>
          <a:xfrm>
            <a:off x="3218692" y="3335645"/>
            <a:ext cx="0" cy="28478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Yuvarlatılmış Dikdörtgen 11"/>
          <p:cNvSpPr/>
          <p:nvPr/>
        </p:nvSpPr>
        <p:spPr>
          <a:xfrm>
            <a:off x="395536" y="3528805"/>
            <a:ext cx="826379" cy="404251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1000" dirty="0" smtClean="0">
                <a:latin typeface="Century Gothic" panose="020B0502020202020204" pitchFamily="34" charset="0"/>
              </a:rPr>
              <a:t>GET </a:t>
            </a:r>
            <a:r>
              <a:rPr lang="tr-TR" sz="1000" dirty="0" err="1" smtClean="0">
                <a:latin typeface="Century Gothic" panose="020B0502020202020204" pitchFamily="34" charset="0"/>
              </a:rPr>
              <a:t>Spare</a:t>
            </a:r>
            <a:r>
              <a:rPr lang="tr-TR" sz="1000" dirty="0" smtClean="0">
                <a:latin typeface="Century Gothic" panose="020B0502020202020204" pitchFamily="34" charset="0"/>
              </a:rPr>
              <a:t> </a:t>
            </a:r>
            <a:r>
              <a:rPr lang="tr-TR" sz="1000" dirty="0" err="1" smtClean="0">
                <a:latin typeface="Century Gothic" panose="020B0502020202020204" pitchFamily="34" charset="0"/>
              </a:rPr>
              <a:t>Parts</a:t>
            </a:r>
            <a:endParaRPr lang="en-US" sz="1000" dirty="0">
              <a:latin typeface="Century Gothic" panose="020B0502020202020204" pitchFamily="34" charset="0"/>
            </a:endParaRPr>
          </a:p>
        </p:txBody>
      </p:sp>
      <p:sp>
        <p:nvSpPr>
          <p:cNvPr id="13" name="Yuvarlatılmış Dikdörtgen 12"/>
          <p:cNvSpPr/>
          <p:nvPr/>
        </p:nvSpPr>
        <p:spPr>
          <a:xfrm>
            <a:off x="1221915" y="3575822"/>
            <a:ext cx="936104" cy="288032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err="1" smtClean="0">
                <a:latin typeface="Century Gothic" panose="020B0502020202020204" pitchFamily="34" charset="0"/>
              </a:rPr>
              <a:t>Undercarriage</a:t>
            </a:r>
            <a:r>
              <a:rPr lang="tr-TR" sz="800" dirty="0" smtClean="0">
                <a:latin typeface="Century Gothic" panose="020B0502020202020204" pitchFamily="34" charset="0"/>
              </a:rPr>
              <a:t> </a:t>
            </a:r>
            <a:r>
              <a:rPr lang="tr-TR" sz="800" dirty="0" err="1" smtClean="0">
                <a:latin typeface="Century Gothic" panose="020B0502020202020204" pitchFamily="34" charset="0"/>
              </a:rPr>
              <a:t>Parts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14" name="Yuvarlatılmış Dikdörtgen 13"/>
          <p:cNvSpPr/>
          <p:nvPr/>
        </p:nvSpPr>
        <p:spPr>
          <a:xfrm>
            <a:off x="2269497" y="3596085"/>
            <a:ext cx="773754" cy="274507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err="1" smtClean="0">
                <a:latin typeface="Century Gothic" panose="020B0502020202020204" pitchFamily="34" charset="0"/>
              </a:rPr>
              <a:t>Buckets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15" name="Yuvarlatılmış Dikdörtgen 14"/>
          <p:cNvSpPr/>
          <p:nvPr/>
        </p:nvSpPr>
        <p:spPr>
          <a:xfrm>
            <a:off x="3121597" y="3560561"/>
            <a:ext cx="720080" cy="318553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smtClean="0">
                <a:latin typeface="Century Gothic" panose="020B0502020202020204" pitchFamily="34" charset="0"/>
              </a:rPr>
              <a:t>Hardware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cxnSp>
        <p:nvCxnSpPr>
          <p:cNvPr id="16" name="Düz Bağlayıcı 15"/>
          <p:cNvCxnSpPr/>
          <p:nvPr/>
        </p:nvCxnSpPr>
        <p:spPr>
          <a:xfrm>
            <a:off x="4779428" y="3337242"/>
            <a:ext cx="3771852" cy="167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Düz Bağlayıcı 16"/>
          <p:cNvCxnSpPr/>
          <p:nvPr/>
        </p:nvCxnSpPr>
        <p:spPr>
          <a:xfrm flipV="1">
            <a:off x="5376057" y="2990744"/>
            <a:ext cx="1" cy="328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Düz Bağlayıcı 17"/>
          <p:cNvCxnSpPr/>
          <p:nvPr/>
        </p:nvCxnSpPr>
        <p:spPr>
          <a:xfrm>
            <a:off x="5376057" y="3331817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Düz Bağlayıcı 18"/>
          <p:cNvCxnSpPr>
            <a:endCxn id="22" idx="0"/>
          </p:cNvCxnSpPr>
          <p:nvPr/>
        </p:nvCxnSpPr>
        <p:spPr>
          <a:xfrm>
            <a:off x="5376057" y="3387835"/>
            <a:ext cx="0" cy="2819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Düz Bağlayıcı 19"/>
          <p:cNvCxnSpPr/>
          <p:nvPr/>
        </p:nvCxnSpPr>
        <p:spPr>
          <a:xfrm>
            <a:off x="6031000" y="3353990"/>
            <a:ext cx="0" cy="2653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Düz Bağlayıcı 20"/>
          <p:cNvCxnSpPr/>
          <p:nvPr/>
        </p:nvCxnSpPr>
        <p:spPr>
          <a:xfrm>
            <a:off x="6863817" y="3343485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Yuvarlatılmış Dikdörtgen 21"/>
          <p:cNvSpPr/>
          <p:nvPr/>
        </p:nvSpPr>
        <p:spPr>
          <a:xfrm>
            <a:off x="5084031" y="3669775"/>
            <a:ext cx="584051" cy="200817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err="1" smtClean="0">
                <a:latin typeface="Century Gothic" panose="020B0502020202020204" pitchFamily="34" charset="0"/>
              </a:rPr>
              <a:t>Interior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3" name="Yuvarlatılmış Dikdörtgen 22"/>
          <p:cNvSpPr/>
          <p:nvPr/>
        </p:nvSpPr>
        <p:spPr>
          <a:xfrm>
            <a:off x="4230800" y="3667757"/>
            <a:ext cx="676089" cy="200817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err="1" smtClean="0">
                <a:latin typeface="Century Gothic" panose="020B0502020202020204" pitchFamily="34" charset="0"/>
              </a:rPr>
              <a:t>Exterior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4" name="Yuvarlatılmış Dikdörtgen 23"/>
          <p:cNvSpPr/>
          <p:nvPr/>
        </p:nvSpPr>
        <p:spPr>
          <a:xfrm>
            <a:off x="5801258" y="3645804"/>
            <a:ext cx="792088" cy="287252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err="1" smtClean="0">
                <a:latin typeface="Century Gothic" panose="020B0502020202020204" pitchFamily="34" charset="0"/>
              </a:rPr>
              <a:t>Audio</a:t>
            </a:r>
            <a:r>
              <a:rPr lang="tr-TR" sz="800" dirty="0" smtClean="0">
                <a:latin typeface="Century Gothic" panose="020B0502020202020204" pitchFamily="34" charset="0"/>
              </a:rPr>
              <a:t> &amp; </a:t>
            </a:r>
            <a:r>
              <a:rPr lang="tr-TR" sz="800" dirty="0" err="1" smtClean="0">
                <a:latin typeface="Century Gothic" panose="020B0502020202020204" pitchFamily="34" charset="0"/>
              </a:rPr>
              <a:t>Electronics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5" name="Yuvarlatılmış Dikdörtgen 24"/>
          <p:cNvSpPr/>
          <p:nvPr/>
        </p:nvSpPr>
        <p:spPr>
          <a:xfrm>
            <a:off x="6704080" y="3632929"/>
            <a:ext cx="767080" cy="300127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err="1" smtClean="0">
                <a:latin typeface="Century Gothic" panose="020B0502020202020204" pitchFamily="34" charset="0"/>
              </a:rPr>
              <a:t>Carrying</a:t>
            </a:r>
            <a:r>
              <a:rPr lang="tr-TR" sz="800" dirty="0" smtClean="0">
                <a:latin typeface="Century Gothic" panose="020B0502020202020204" pitchFamily="34" charset="0"/>
              </a:rPr>
              <a:t> &amp; </a:t>
            </a:r>
            <a:r>
              <a:rPr lang="tr-TR" sz="800" dirty="0" err="1" smtClean="0">
                <a:latin typeface="Century Gothic" panose="020B0502020202020204" pitchFamily="34" charset="0"/>
              </a:rPr>
              <a:t>Towing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sp>
        <p:nvSpPr>
          <p:cNvPr id="26" name="Yuvarlatılmış Dikdörtgen 25"/>
          <p:cNvSpPr/>
          <p:nvPr/>
        </p:nvSpPr>
        <p:spPr>
          <a:xfrm>
            <a:off x="8268442" y="3645804"/>
            <a:ext cx="617304" cy="255327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smtClean="0">
                <a:latin typeface="Century Gothic" panose="020B0502020202020204" pitchFamily="34" charset="0"/>
              </a:rPr>
              <a:t>Body </a:t>
            </a:r>
            <a:r>
              <a:rPr lang="tr-TR" sz="800" dirty="0" err="1" smtClean="0">
                <a:latin typeface="Century Gothic" panose="020B0502020202020204" pitchFamily="34" charset="0"/>
              </a:rPr>
              <a:t>Parts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cxnSp>
        <p:nvCxnSpPr>
          <p:cNvPr id="27" name="Düz Bağlayıcı 26"/>
          <p:cNvCxnSpPr/>
          <p:nvPr/>
        </p:nvCxnSpPr>
        <p:spPr>
          <a:xfrm>
            <a:off x="4779428" y="3347038"/>
            <a:ext cx="0" cy="3207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Yuvarlatılmış Dikdörtgen 27"/>
          <p:cNvSpPr/>
          <p:nvPr/>
        </p:nvSpPr>
        <p:spPr>
          <a:xfrm>
            <a:off x="7543168" y="3663020"/>
            <a:ext cx="648072" cy="270036"/>
          </a:xfrm>
          <a:prstGeom prst="roundRect">
            <a:avLst/>
          </a:prstGeom>
          <a:ln w="1905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800" dirty="0" smtClean="0">
                <a:latin typeface="Century Gothic" panose="020B0502020202020204" pitchFamily="34" charset="0"/>
              </a:rPr>
              <a:t>Engine </a:t>
            </a:r>
            <a:r>
              <a:rPr lang="tr-TR" sz="800" dirty="0" err="1" smtClean="0">
                <a:latin typeface="Century Gothic" panose="020B0502020202020204" pitchFamily="34" charset="0"/>
              </a:rPr>
              <a:t>Parts</a:t>
            </a:r>
            <a:endParaRPr lang="en-US" sz="800" dirty="0">
              <a:latin typeface="Century Gothic" panose="020B0502020202020204" pitchFamily="34" charset="0"/>
            </a:endParaRPr>
          </a:p>
        </p:txBody>
      </p:sp>
      <p:cxnSp>
        <p:nvCxnSpPr>
          <p:cNvPr id="39" name="Düz Bağlayıcı 38"/>
          <p:cNvCxnSpPr/>
          <p:nvPr/>
        </p:nvCxnSpPr>
        <p:spPr>
          <a:xfrm>
            <a:off x="395537" y="3345154"/>
            <a:ext cx="0" cy="2383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Düz Bağlayıcı 61"/>
          <p:cNvCxnSpPr/>
          <p:nvPr/>
        </p:nvCxnSpPr>
        <p:spPr>
          <a:xfrm>
            <a:off x="7759192" y="3374988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Düz Bağlayıcı 66"/>
          <p:cNvCxnSpPr/>
          <p:nvPr/>
        </p:nvCxnSpPr>
        <p:spPr>
          <a:xfrm>
            <a:off x="8555874" y="3347038"/>
            <a:ext cx="0" cy="2880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C:\Users\Berkin\Desktop\Forcemac\Images\blade-edg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3939" y="4689592"/>
            <a:ext cx="921220" cy="92122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Users\Berkin\Desktop\Forcemac\Images\Exc_bucket_Bpage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9177" y="4639001"/>
            <a:ext cx="979029" cy="979029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Berkin\Desktop\Forcemac\Images\undercarriage_big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94" y="4689592"/>
            <a:ext cx="928438" cy="928438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Berkin\Desktop\body parts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35" b="30346"/>
          <a:stretch/>
        </p:blipFill>
        <p:spPr bwMode="auto">
          <a:xfrm>
            <a:off x="4175739" y="4598792"/>
            <a:ext cx="1216213" cy="942520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Berkin\Desktop\audio electronics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0519" y="4541930"/>
            <a:ext cx="1060959" cy="1056244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Berkin\Desktop\engine Parts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826" y="4515795"/>
            <a:ext cx="1025517" cy="1025517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Berkin\Desktop\carrying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4038" y="4639001"/>
            <a:ext cx="773056" cy="811984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Yuvarlatılmış Dikdörtgen 39"/>
          <p:cNvSpPr/>
          <p:nvPr/>
        </p:nvSpPr>
        <p:spPr>
          <a:xfrm>
            <a:off x="4076328" y="4362378"/>
            <a:ext cx="4672136" cy="1532273"/>
          </a:xfrm>
          <a:prstGeom prst="roundRect">
            <a:avLst/>
          </a:prstGeom>
          <a:noFill/>
          <a:ln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351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8954" y="260648"/>
            <a:ext cx="8183880" cy="835536"/>
          </a:xfrm>
        </p:spPr>
        <p:txBody>
          <a:bodyPr/>
          <a:lstStyle/>
          <a:p>
            <a:r>
              <a:rPr lang="tr-TR" dirty="0" err="1" smtClean="0">
                <a:latin typeface="Century Gothic" panose="020B0502020202020204" pitchFamily="34" charset="0"/>
              </a:rPr>
              <a:t>Driven</a:t>
            </a:r>
            <a:r>
              <a:rPr lang="tr-TR" dirty="0" smtClean="0">
                <a:latin typeface="Century Gothic" panose="020B0502020202020204" pitchFamily="34" charset="0"/>
              </a:rPr>
              <a:t> </a:t>
            </a:r>
            <a:r>
              <a:rPr lang="tr-TR" dirty="0" err="1" smtClean="0">
                <a:latin typeface="Century Gothic" panose="020B0502020202020204" pitchFamily="34" charset="0"/>
              </a:rPr>
              <a:t>Progress</a:t>
            </a:r>
            <a:r>
              <a:rPr lang="tr-TR" dirty="0" smtClean="0">
                <a:latin typeface="Century Gothic" panose="020B0502020202020204" pitchFamily="34" charset="0"/>
              </a:rPr>
              <a:t> (2016)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pyright © 2016 Forcemac  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4DF790-11F8-4285-A28E-033F9B7E2087}" type="slidenum">
              <a:rPr lang="en-US" smtClean="0"/>
              <a:t>9</a:t>
            </a:fld>
            <a:endParaRPr lang="en-US"/>
          </a:p>
        </p:txBody>
      </p:sp>
      <p:sp>
        <p:nvSpPr>
          <p:cNvPr id="6" name="Oval 4"/>
          <p:cNvSpPr/>
          <p:nvPr/>
        </p:nvSpPr>
        <p:spPr bwMode="auto">
          <a:xfrm>
            <a:off x="2926163" y="3528779"/>
            <a:ext cx="1367998" cy="1367997"/>
          </a:xfrm>
          <a:prstGeom prst="ellipse">
            <a:avLst/>
          </a:prstGeom>
          <a:solidFill>
            <a:srgbClr val="007FAE">
              <a:lumMod val="75000"/>
            </a:srgb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4138585" y="3528779"/>
            <a:ext cx="1367998" cy="1367997"/>
          </a:xfrm>
          <a:prstGeom prst="ellipse">
            <a:avLst/>
          </a:prstGeom>
          <a:solidFill>
            <a:srgbClr val="8A0D10">
              <a:lumMod val="75000"/>
            </a:srgb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8" name="Oval 7"/>
          <p:cNvSpPr/>
          <p:nvPr/>
        </p:nvSpPr>
        <p:spPr bwMode="auto">
          <a:xfrm>
            <a:off x="4424337" y="2463930"/>
            <a:ext cx="1367998" cy="1367997"/>
          </a:xfrm>
          <a:prstGeom prst="ellipse">
            <a:avLst/>
          </a:prstGeom>
          <a:solidFill>
            <a:srgbClr val="FCAB18"/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smtClean="0">
              <a:solidFill>
                <a:prstClr val="white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9" name="Oval 3"/>
          <p:cNvSpPr/>
          <p:nvPr/>
        </p:nvSpPr>
        <p:spPr bwMode="auto">
          <a:xfrm>
            <a:off x="3552849" y="2095210"/>
            <a:ext cx="1367998" cy="1367997"/>
          </a:xfrm>
          <a:prstGeom prst="ellipse">
            <a:avLst/>
          </a:prstGeom>
          <a:solidFill>
            <a:srgbClr val="5FA941"/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smtClean="0">
              <a:solidFill>
                <a:prstClr val="white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2699149" y="2463930"/>
            <a:ext cx="1367998" cy="1367997"/>
          </a:xfrm>
          <a:prstGeom prst="ellipse">
            <a:avLst/>
          </a:prstGeom>
          <a:solidFill>
            <a:srgbClr val="FFFFFF">
              <a:lumMod val="75000"/>
            </a:srgbClr>
          </a:solidFill>
          <a:ln w="571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11" name="Oval 10"/>
          <p:cNvSpPr/>
          <p:nvPr/>
        </p:nvSpPr>
        <p:spPr bwMode="auto">
          <a:xfrm>
            <a:off x="2903345" y="1772816"/>
            <a:ext cx="2664000" cy="2664000"/>
          </a:xfrm>
          <a:prstGeom prst="ellipse">
            <a:avLst/>
          </a:prstGeom>
          <a:solidFill>
            <a:srgbClr val="8290A6"/>
          </a:solidFill>
          <a:ln w="7620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  <a:cs typeface="Arial" pitchFamily="34" charset="0"/>
              </a:rPr>
              <a:t>Guiding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  <a:cs typeface="Arial" pitchFamily="34" charset="0"/>
              </a:rPr>
              <a:t>Principles &amp;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  <a:cs typeface="Arial" pitchFamily="34" charset="0"/>
              </a:rPr>
              <a:t>Success Factors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  <a:cs typeface="Arial" pitchFamily="34" charset="0"/>
              </a:rPr>
              <a:t>of </a:t>
            </a:r>
            <a:r>
              <a:rPr kumimoji="0" lang="tr-TR" sz="20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  <a:cs typeface="Arial" pitchFamily="34" charset="0"/>
              </a:rPr>
              <a:t>Customer</a:t>
            </a:r>
            <a:r>
              <a:rPr kumimoji="0" lang="tr-TR" sz="20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  <a:cs typeface="Arial" pitchFamily="34" charset="0"/>
              </a:rPr>
              <a:t>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  <a:cs typeface="Arial" pitchFamily="34" charset="0"/>
              </a:rPr>
              <a:t>Satisfaction</a:t>
            </a: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12" name="Arc 8"/>
          <p:cNvSpPr/>
          <p:nvPr/>
        </p:nvSpPr>
        <p:spPr>
          <a:xfrm rot="235409">
            <a:off x="4317434" y="1806281"/>
            <a:ext cx="1291998" cy="1291999"/>
          </a:xfrm>
          <a:prstGeom prst="arc">
            <a:avLst>
              <a:gd name="adj1" fmla="val 14936886"/>
              <a:gd name="adj2" fmla="val 0"/>
            </a:avLst>
          </a:prstGeom>
          <a:noFill/>
          <a:ln w="9525" cap="flat" cmpd="sng" algn="ctr">
            <a:solidFill>
              <a:srgbClr val="007FAE">
                <a:shade val="95000"/>
                <a:satMod val="105000"/>
              </a:srgbClr>
            </a:solidFill>
            <a:prstDash val="sysDash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</p:txBody>
      </p:sp>
      <p:sp>
        <p:nvSpPr>
          <p:cNvPr id="13" name="Arc 9"/>
          <p:cNvSpPr/>
          <p:nvPr/>
        </p:nvSpPr>
        <p:spPr>
          <a:xfrm rot="4320605">
            <a:off x="4700857" y="3323791"/>
            <a:ext cx="1291999" cy="1291998"/>
          </a:xfrm>
          <a:prstGeom prst="arc">
            <a:avLst>
              <a:gd name="adj1" fmla="val 14936886"/>
              <a:gd name="adj2" fmla="val 0"/>
            </a:avLst>
          </a:prstGeom>
          <a:noFill/>
          <a:ln w="9525" cap="flat" cmpd="sng" algn="ctr">
            <a:solidFill>
              <a:srgbClr val="007FAE">
                <a:shade val="95000"/>
                <a:satMod val="105000"/>
              </a:srgbClr>
            </a:solidFill>
            <a:prstDash val="sysDash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</p:txBody>
      </p:sp>
      <p:sp>
        <p:nvSpPr>
          <p:cNvPr id="14" name="Arc 10"/>
          <p:cNvSpPr/>
          <p:nvPr/>
        </p:nvSpPr>
        <p:spPr>
          <a:xfrm rot="8965141">
            <a:off x="3628287" y="3986428"/>
            <a:ext cx="1291998" cy="1291999"/>
          </a:xfrm>
          <a:prstGeom prst="arc">
            <a:avLst>
              <a:gd name="adj1" fmla="val 14936886"/>
              <a:gd name="adj2" fmla="val 0"/>
            </a:avLst>
          </a:prstGeom>
          <a:noFill/>
          <a:ln w="9525" cap="flat" cmpd="sng" algn="ctr">
            <a:solidFill>
              <a:srgbClr val="007FAE">
                <a:shade val="95000"/>
                <a:satMod val="105000"/>
              </a:srgbClr>
            </a:solidFill>
            <a:prstDash val="sysDash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</p:txBody>
      </p:sp>
      <p:sp>
        <p:nvSpPr>
          <p:cNvPr id="15" name="Arc 11"/>
          <p:cNvSpPr/>
          <p:nvPr/>
        </p:nvSpPr>
        <p:spPr>
          <a:xfrm rot="13463889">
            <a:off x="2507619" y="3442386"/>
            <a:ext cx="1291998" cy="1291999"/>
          </a:xfrm>
          <a:prstGeom prst="arc">
            <a:avLst>
              <a:gd name="adj1" fmla="val 14936886"/>
              <a:gd name="adj2" fmla="val 0"/>
            </a:avLst>
          </a:prstGeom>
          <a:noFill/>
          <a:ln w="9525" cap="flat" cmpd="sng" algn="ctr">
            <a:solidFill>
              <a:srgbClr val="007FAE">
                <a:shade val="95000"/>
                <a:satMod val="105000"/>
              </a:srgbClr>
            </a:solidFill>
            <a:prstDash val="sysDash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</p:txBody>
      </p:sp>
      <p:sp>
        <p:nvSpPr>
          <p:cNvPr id="16" name="Arc 12"/>
          <p:cNvSpPr/>
          <p:nvPr/>
        </p:nvSpPr>
        <p:spPr>
          <a:xfrm rot="16765203">
            <a:off x="2750933" y="1841655"/>
            <a:ext cx="1291999" cy="1291998"/>
          </a:xfrm>
          <a:prstGeom prst="arc">
            <a:avLst>
              <a:gd name="adj1" fmla="val 14936886"/>
              <a:gd name="adj2" fmla="val 0"/>
            </a:avLst>
          </a:prstGeom>
          <a:noFill/>
          <a:ln w="9525" cap="flat" cmpd="sng" algn="ctr">
            <a:solidFill>
              <a:srgbClr val="007FAE">
                <a:shade val="95000"/>
                <a:satMod val="105000"/>
              </a:srgbClr>
            </a:solidFill>
            <a:prstDash val="sysDash"/>
            <a:tailEnd type="arrow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</p:txBody>
      </p:sp>
      <p:sp>
        <p:nvSpPr>
          <p:cNvPr id="17" name="TextBox 13"/>
          <p:cNvSpPr txBox="1"/>
          <p:nvPr/>
        </p:nvSpPr>
        <p:spPr>
          <a:xfrm>
            <a:off x="5945436" y="1052736"/>
            <a:ext cx="15049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16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  <a:cs typeface="Arial" pitchFamily="34" charset="0"/>
              </a:rPr>
              <a:t>New Service Model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18" name="TextBox 14"/>
          <p:cNvSpPr txBox="1"/>
          <p:nvPr/>
        </p:nvSpPr>
        <p:spPr>
          <a:xfrm>
            <a:off x="6228184" y="3293930"/>
            <a:ext cx="18573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16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  <a:cs typeface="Arial" pitchFamily="34" charset="0"/>
              </a:rPr>
              <a:t>New Expo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19" name="TextBox 15"/>
          <p:cNvSpPr txBox="1"/>
          <p:nvPr/>
        </p:nvSpPr>
        <p:spPr>
          <a:xfrm>
            <a:off x="4330376" y="5196140"/>
            <a:ext cx="2337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1600" b="1" dirty="0" err="1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  <a:cs typeface="Arial" pitchFamily="34" charset="0"/>
              </a:rPr>
              <a:t>Warehouse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0" name="TextBox 16"/>
          <p:cNvSpPr txBox="1"/>
          <p:nvPr/>
        </p:nvSpPr>
        <p:spPr>
          <a:xfrm>
            <a:off x="179522" y="4043500"/>
            <a:ext cx="27238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16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  <a:cs typeface="Arial" pitchFamily="34" charset="0"/>
              </a:rPr>
              <a:t>New Marketing </a:t>
            </a:r>
            <a:r>
              <a:rPr lang="tr-TR" sz="1600" b="1" dirty="0" err="1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  <a:cs typeface="Arial" pitchFamily="34" charset="0"/>
              </a:rPr>
              <a:t>Strategies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1" name="TextBox 17"/>
          <p:cNvSpPr txBox="1"/>
          <p:nvPr/>
        </p:nvSpPr>
        <p:spPr>
          <a:xfrm>
            <a:off x="784228" y="1188041"/>
            <a:ext cx="18396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16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  <a:cs typeface="Arial" pitchFamily="34" charset="0"/>
              </a:rPr>
              <a:t>Product </a:t>
            </a:r>
            <a:r>
              <a:rPr lang="tr-TR" sz="1600" b="1" dirty="0" err="1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  <a:cs typeface="Arial" pitchFamily="34" charset="0"/>
              </a:rPr>
              <a:t>Range</a:t>
            </a:r>
            <a:r>
              <a:rPr lang="tr-TR" sz="16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  <a:cs typeface="Arial" pitchFamily="34" charset="0"/>
              </a:rPr>
              <a:t> Expansion</a:t>
            </a:r>
            <a:endParaRPr lang="en-US" sz="16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2" name="TextBox 18"/>
          <p:cNvSpPr txBox="1"/>
          <p:nvPr/>
        </p:nvSpPr>
        <p:spPr>
          <a:xfrm>
            <a:off x="5652120" y="1704613"/>
            <a:ext cx="3189540" cy="92869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Ins="36000" anchor="t"/>
          <a:lstStyle/>
          <a:p>
            <a:pPr marL="171450" lvl="0" indent="-17145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Forceget has been launched and started NIC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H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E concept of purchase.</a:t>
            </a:r>
          </a:p>
          <a:p>
            <a:pPr marL="171450" lvl="0" indent="-17145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(Beta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Version</a:t>
            </a:r>
            <a:r>
              <a:rPr lang="tr-TR" sz="1400" kern="0" dirty="0">
                <a:solidFill>
                  <a:sysClr val="windowText" lastClr="000000"/>
                </a:solidFill>
                <a:latin typeface="Century Gothic" pitchFamily="34" charset="0"/>
              </a:rPr>
              <a:t> : http://</a:t>
            </a:r>
            <a:r>
              <a:rPr lang="tr-TR" sz="14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berkin5.wix.com/</a:t>
            </a:r>
            <a:r>
              <a:rPr lang="tr-TR" sz="14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forceget</a:t>
            </a:r>
            <a:r>
              <a:rPr lang="tr-TR" sz="14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)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23" name="TextBox 19"/>
          <p:cNvSpPr txBox="1"/>
          <p:nvPr/>
        </p:nvSpPr>
        <p:spPr>
          <a:xfrm>
            <a:off x="6048867" y="3753768"/>
            <a:ext cx="2857520" cy="114300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Ins="36000" anchor="t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MINE Expo btw 26-28 September at Las Vegas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</a:endParaRP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400" kern="0" noProof="0" dirty="0" smtClean="0">
                <a:solidFill>
                  <a:sysClr val="windowText" lastClr="000000"/>
                </a:solidFill>
                <a:latin typeface="Century Gothic" pitchFamily="34" charset="0"/>
              </a:rPr>
              <a:t>Exhibit in </a:t>
            </a:r>
            <a:r>
              <a:rPr lang="en-US" sz="1400" kern="0" noProof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Bauma</a:t>
            </a:r>
            <a:r>
              <a:rPr lang="en-US" sz="1400" kern="0" noProof="0" dirty="0" smtClean="0">
                <a:solidFill>
                  <a:sysClr val="windowText" lastClr="000000"/>
                </a:solidFill>
                <a:latin typeface="Century Gothic" pitchFamily="34" charset="0"/>
              </a:rPr>
              <a:t> Shanghai in World`s Largest Constr. Mach. Expo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</a:endParaRP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Automechanica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 in </a:t>
            </a:r>
            <a:r>
              <a:rPr lang="tr-TR" sz="14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December</a:t>
            </a:r>
            <a:r>
              <a:rPr lang="tr-TR" sz="14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 at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Shanghai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</a:endParaRP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</p:txBody>
      </p:sp>
      <p:sp>
        <p:nvSpPr>
          <p:cNvPr id="24" name="TextBox 20"/>
          <p:cNvSpPr txBox="1"/>
          <p:nvPr/>
        </p:nvSpPr>
        <p:spPr>
          <a:xfrm>
            <a:off x="4424337" y="5485074"/>
            <a:ext cx="3214710" cy="76017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Ins="36000" anchor="t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Hong Kong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warehouse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is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rented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for</a:t>
            </a:r>
            <a:r>
              <a:rPr kumimoji="0" lang="tr-TR" sz="14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</a:t>
            </a:r>
            <a:r>
              <a:rPr kumimoji="0" lang="tr-TR" sz="1400" b="0" i="0" u="none" strike="noStrike" kern="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fast</a:t>
            </a:r>
            <a:r>
              <a:rPr kumimoji="0" lang="tr-TR" sz="14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</a:t>
            </a:r>
            <a:r>
              <a:rPr kumimoji="0" lang="tr-TR" sz="1400" b="0" i="0" u="none" strike="noStrike" kern="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running</a:t>
            </a:r>
            <a:r>
              <a:rPr kumimoji="0" lang="tr-TR" sz="14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</a:t>
            </a:r>
            <a:r>
              <a:rPr kumimoji="0" lang="tr-TR" sz="1400" b="0" i="0" u="none" strike="noStrike" kern="0" cap="none" spc="0" normalizeH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products</a:t>
            </a:r>
            <a:r>
              <a:rPr kumimoji="0" lang="tr-TR" sz="14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.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</p:txBody>
      </p:sp>
      <p:sp>
        <p:nvSpPr>
          <p:cNvPr id="25" name="TextBox 21"/>
          <p:cNvSpPr txBox="1"/>
          <p:nvPr/>
        </p:nvSpPr>
        <p:spPr>
          <a:xfrm>
            <a:off x="317648" y="4451352"/>
            <a:ext cx="3071834" cy="114300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Ins="36000" anchor="t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We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</a:t>
            </a: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have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</a:t>
            </a: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allocated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a </a:t>
            </a: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budget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</a:t>
            </a: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for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marketing </a:t>
            </a: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issues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.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New </a:t>
            </a:r>
            <a:r>
              <a:rPr lang="tr-TR" sz="1200" kern="0" dirty="0">
                <a:solidFill>
                  <a:sysClr val="windowText" lastClr="000000"/>
                </a:solidFill>
                <a:latin typeface="Century Gothic" pitchFamily="34" charset="0"/>
              </a:rPr>
              <a:t>c</a:t>
            </a: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ustomer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</a:t>
            </a: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acquisition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 is </a:t>
            </a:r>
            <a:r>
              <a:rPr kumimoji="0" lang="tr-TR" sz="12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targeted</a:t>
            </a:r>
            <a:r>
              <a:rPr kumimoji="0" lang="tr-TR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cs typeface="+mn-cs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tr-TR" sz="12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Reaching</a:t>
            </a:r>
            <a:r>
              <a:rPr lang="tr-TR" sz="12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 </a:t>
            </a:r>
            <a:r>
              <a:rPr lang="tr-TR" sz="12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out</a:t>
            </a:r>
            <a:r>
              <a:rPr lang="tr-TR" sz="12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 </a:t>
            </a:r>
            <a:r>
              <a:rPr lang="tr-TR" sz="12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new</a:t>
            </a:r>
            <a:r>
              <a:rPr lang="tr-TR" sz="12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 </a:t>
            </a:r>
            <a:r>
              <a:rPr lang="tr-TR" sz="12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markets</a:t>
            </a:r>
            <a:r>
              <a:rPr lang="tr-TR" sz="12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 </a:t>
            </a:r>
            <a:r>
              <a:rPr lang="tr-TR" sz="12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with</a:t>
            </a:r>
            <a:r>
              <a:rPr lang="tr-TR" sz="12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 </a:t>
            </a:r>
            <a:r>
              <a:rPr lang="tr-TR" sz="12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new</a:t>
            </a:r>
            <a:r>
              <a:rPr lang="tr-TR" sz="12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 </a:t>
            </a:r>
            <a:r>
              <a:rPr lang="tr-TR" sz="1200" kern="0" dirty="0" err="1" smtClean="0">
                <a:solidFill>
                  <a:sysClr val="windowText" lastClr="000000"/>
                </a:solidFill>
                <a:latin typeface="Century Gothic" pitchFamily="34" charset="0"/>
              </a:rPr>
              <a:t>channels</a:t>
            </a:r>
            <a:r>
              <a:rPr lang="tr-TR" sz="12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.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cs typeface="+mn-cs"/>
            </a:endParaRPr>
          </a:p>
        </p:txBody>
      </p:sp>
      <p:sp>
        <p:nvSpPr>
          <p:cNvPr id="26" name="TextBox 22"/>
          <p:cNvSpPr txBox="1"/>
          <p:nvPr/>
        </p:nvSpPr>
        <p:spPr>
          <a:xfrm>
            <a:off x="372066" y="1772816"/>
            <a:ext cx="2428892" cy="114300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txBody>
          <a:bodyPr rIns="36000" anchor="t"/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Bus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Wifi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 &amp;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Announcement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systems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 </a:t>
            </a:r>
            <a:r>
              <a:rPr kumimoji="0" lang="tr-TR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for</a:t>
            </a:r>
            <a:r>
              <a:rPr kumimoji="0" lang="tr-TR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 Otokar</a:t>
            </a:r>
            <a:r>
              <a:rPr lang="tr-TR" sz="1400" kern="0" dirty="0">
                <a:solidFill>
                  <a:sysClr val="windowText" lastClr="000000"/>
                </a:solidFill>
                <a:latin typeface="Century Gothic" pitchFamily="34" charset="0"/>
              </a:rPr>
              <a:t> </a:t>
            </a:r>
            <a:r>
              <a:rPr lang="tr-TR" sz="1400" kern="0" dirty="0" smtClean="0">
                <a:solidFill>
                  <a:sysClr val="windowText" lastClr="000000"/>
                </a:solidFill>
                <a:latin typeface="Century Gothic" pitchFamily="34" charset="0"/>
              </a:rPr>
              <a:t>and Karsan</a:t>
            </a:r>
            <a:endParaRPr lang="en-US" sz="1400" kern="0" dirty="0" smtClean="0">
              <a:solidFill>
                <a:sysClr val="windowText" lastClr="000000"/>
              </a:solidFill>
              <a:latin typeface="Century Gothic" pitchFamily="34" charset="0"/>
            </a:endParaRP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Winter </a:t>
            </a:r>
            <a:r>
              <a:rPr kumimoji="0" lang="en-US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Tyres</a:t>
            </a:r>
            <a:endParaRPr lang="en-US" sz="1400" kern="0" dirty="0">
              <a:solidFill>
                <a:sysClr val="windowText" lastClr="000000"/>
              </a:solidFill>
              <a:latin typeface="Century Gothic" pitchFamily="34" charset="0"/>
            </a:endParaRP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Lane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</a:rPr>
              <a:t> Departure Warning System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235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PdRVVPa0iher8hkWkd7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_FwBbh9kqQqXRTZNQA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_zBe4nrkOIhuhP7V12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_zLrjO8EaYLr4VWU4l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_FwBbh9kqQqXRTZNQA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i0moExk6_ZZr9zuEc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XsCbaeAEOTt15.cm_U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FMuEq2C0e54if_MREr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_zLrjO8EaYLr4VWU4l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MumHxyOk2rqohWh346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68NvYzAkO6L7yE6Ov6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KnSkGPNEuGI45FXQxj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owyZfM2UC7ORp3RRjRI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Görünüş">
  <a:themeElements>
    <a:clrScheme name="Görünüş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Görünüş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Görünüş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35000"/>
                <a:satMod val="150000"/>
              </a:schemeClr>
            </a:gs>
            <a:gs pos="45000">
              <a:schemeClr val="phClr">
                <a:shade val="68000"/>
                <a:satMod val="15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0"/>
        </a:gradFill>
        <a:blipFill>
          <a:blip xmlns:r="http://schemas.openxmlformats.org/officeDocument/2006/relationships" r:embed="rId1">
            <a:duotone>
              <a:schemeClr val="phClr">
                <a:shade val="800"/>
                <a:satMod val="150000"/>
              </a:schemeClr>
              <a:schemeClr val="phClr">
                <a:tint val="80000"/>
                <a:satMod val="150000"/>
              </a:schemeClr>
            </a:duotone>
          </a:blip>
          <a:tile tx="0" ty="0" sx="75000" sy="7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1783</TotalTime>
  <Words>614</Words>
  <Application>Microsoft Office PowerPoint</Application>
  <PresentationFormat>On-screen Show (4:3)</PresentationFormat>
  <Paragraphs>161</Paragraphs>
  <Slides>1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Görünüş</vt:lpstr>
      <vt:lpstr>Forcemac Hong Kong Limited</vt:lpstr>
      <vt:lpstr>Agenda</vt:lpstr>
      <vt:lpstr>About Us</vt:lpstr>
      <vt:lpstr>About Us</vt:lpstr>
      <vt:lpstr>Our Services</vt:lpstr>
      <vt:lpstr>PowerPoint Presentation</vt:lpstr>
      <vt:lpstr>Customer Overview</vt:lpstr>
      <vt:lpstr>Product Overview</vt:lpstr>
      <vt:lpstr>Driven Progress (2016)</vt:lpstr>
      <vt:lpstr>Our Advantages </vt:lpstr>
      <vt:lpstr>PowerPoint Presentation</vt:lpstr>
      <vt:lpstr>Conclusion</vt:lpstr>
      <vt:lpstr>PowerPoint Presentation</vt:lpstr>
    </vt:vector>
  </TitlesOfParts>
  <Company>Progressiv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Berkin Bombatepe</dc:creator>
  <cp:lastModifiedBy>burak yolga</cp:lastModifiedBy>
  <cp:revision>115</cp:revision>
  <dcterms:created xsi:type="dcterms:W3CDTF">2016-06-27T08:24:17Z</dcterms:created>
  <dcterms:modified xsi:type="dcterms:W3CDTF">2016-07-14T07:32:00Z</dcterms:modified>
</cp:coreProperties>
</file>